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9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72.xml" ContentType="application/vnd.openxmlformats-officedocument.presentationml.slideLayout+xml"/>
  <Override PartName="/ppt/theme/theme10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1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2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3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4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5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6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7.xml" ContentType="application/vnd.openxmlformats-officedocument.them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8.xml" ContentType="application/vnd.openxmlformats-officedocument.them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9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22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4" r:id="rId5"/>
    <p:sldMasterId id="2147483683" r:id="rId6"/>
    <p:sldMasterId id="2147483692" r:id="rId7"/>
    <p:sldMasterId id="2147483701" r:id="rId8"/>
    <p:sldMasterId id="2147483710" r:id="rId9"/>
    <p:sldMasterId id="2147483719" r:id="rId10"/>
    <p:sldMasterId id="2147483728" r:id="rId11"/>
    <p:sldMasterId id="2147483737" r:id="rId12"/>
    <p:sldMasterId id="2147483746" r:id="rId13"/>
    <p:sldMasterId id="2147483749" r:id="rId14"/>
    <p:sldMasterId id="2147483757" r:id="rId15"/>
    <p:sldMasterId id="2147483766" r:id="rId16"/>
    <p:sldMasterId id="2147483775" r:id="rId17"/>
    <p:sldMasterId id="2147483784" r:id="rId18"/>
    <p:sldMasterId id="2147483793" r:id="rId19"/>
    <p:sldMasterId id="2147483802" r:id="rId20"/>
    <p:sldMasterId id="2147483811" r:id="rId21"/>
    <p:sldMasterId id="2147483820" r:id="rId22"/>
  </p:sldMasterIdLst>
  <p:notesMasterIdLst>
    <p:notesMasterId r:id="rId24"/>
  </p:notesMasterIdLst>
  <p:handoutMasterIdLst>
    <p:handoutMasterId r:id="rId25"/>
  </p:handoutMasterIdLst>
  <p:sldIdLst>
    <p:sldId id="2196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Megan Platt" initials="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D26A"/>
    <a:srgbClr val="FFEAA5"/>
    <a:srgbClr val="FFE9A0"/>
    <a:srgbClr val="D3EFCE"/>
    <a:srgbClr val="FFABAB"/>
    <a:srgbClr val="FF8B8B"/>
    <a:srgbClr val="FF0000"/>
    <a:srgbClr val="EBF6DE"/>
    <a:srgbClr val="D9D9D9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E3AA4E-ECC0-44D9-912C-B6279EB0A443}" v="2" dt="2022-10-20T02:52:21.274"/>
    <p1510:client id="{6CE89F99-4A3D-4F12-85D2-AE7076FA1D98}" v="1" dt="2022-10-20T02:48:21.748"/>
    <p1510:client id="{B4FD918D-C106-4A60-B12E-CEF59405A842}" v="1" dt="2022-10-20T02:33:25.490"/>
    <p1510:client id="{D93499D3-5244-4981-8662-DBF0A3B69654}" v="1" dt="2022-10-20T02:59:38.650"/>
    <p1510:client id="{F7A6299E-0392-4EC9-9A0F-08BE326868FD}" v="1" dt="2022-10-20T02:49:26.434"/>
    <p1510:client id="{F9AF741E-DE7A-4F9A-A341-EC6A7AC07D1A}" v="1" dt="2022-10-20T02:57:06.23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39" autoAdjust="0"/>
    <p:restoredTop sz="94987" autoAdjust="0"/>
  </p:normalViewPr>
  <p:slideViewPr>
    <p:cSldViewPr snapToGrid="0">
      <p:cViewPr varScale="1">
        <p:scale>
          <a:sx n="101" d="100"/>
          <a:sy n="101" d="100"/>
        </p:scale>
        <p:origin x="1332" y="114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72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handoutMaster" Target="handoutMasters/handout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749C0E2C-AAC6-401A-B449-B354DF3FBE4A}"/>
    <pc:docChg chg="undo redo custSel addSld delSld modSld sldOrd">
      <pc:chgData name="Aurelien Domont" userId="6da7715ce44349b3" providerId="LiveId" clId="{749C0E2C-AAC6-401A-B449-B354DF3FBE4A}" dt="2021-07-13T06:13:35.666" v="820" actId="47"/>
      <pc:docMkLst>
        <pc:docMk/>
      </pc:docMkLst>
      <pc:sldChg chg="addSp delSp modSp mod">
        <pc:chgData name="Aurelien Domont" userId="6da7715ce44349b3" providerId="LiveId" clId="{749C0E2C-AAC6-401A-B449-B354DF3FBE4A}" dt="2021-07-13T06:13:33.143" v="819" actId="478"/>
        <pc:sldMkLst>
          <pc:docMk/>
          <pc:sldMk cId="3131901387" sldId="256"/>
        </pc:sldMkLst>
        <pc:spChg chg="mod">
          <ac:chgData name="Aurelien Domont" userId="6da7715ce44349b3" providerId="LiveId" clId="{749C0E2C-AAC6-401A-B449-B354DF3FBE4A}" dt="2021-07-09T04:33:03.347" v="43" actId="20577"/>
          <ac:spMkLst>
            <pc:docMk/>
            <pc:sldMk cId="3131901387" sldId="256"/>
            <ac:spMk id="2" creationId="{5261080C-C60C-4746-B6B1-A9A4FFA86785}"/>
          </ac:spMkLst>
        </pc:spChg>
        <pc:picChg chg="add del mod">
          <ac:chgData name="Aurelien Domont" userId="6da7715ce44349b3" providerId="LiveId" clId="{749C0E2C-AAC6-401A-B449-B354DF3FBE4A}" dt="2021-07-13T06:11:33.168" v="809" actId="478"/>
          <ac:picMkLst>
            <pc:docMk/>
            <pc:sldMk cId="3131901387" sldId="256"/>
            <ac:picMk id="3" creationId="{A54122EC-30D0-4B37-B927-28A8357B1859}"/>
          </ac:picMkLst>
        </pc:picChg>
        <pc:picChg chg="add del">
          <ac:chgData name="Aurelien Domont" userId="6da7715ce44349b3" providerId="LiveId" clId="{749C0E2C-AAC6-401A-B449-B354DF3FBE4A}" dt="2021-07-13T06:13:33.143" v="819" actId="478"/>
          <ac:picMkLst>
            <pc:docMk/>
            <pc:sldMk cId="3131901387" sldId="256"/>
            <ac:picMk id="4" creationId="{4F9A945A-E262-444E-AB26-D0369F6C20F7}"/>
          </ac:picMkLst>
        </pc:picChg>
      </pc:sldChg>
      <pc:sldChg chg="del">
        <pc:chgData name="Aurelien Domont" userId="6da7715ce44349b3" providerId="LiveId" clId="{749C0E2C-AAC6-401A-B449-B354DF3FBE4A}" dt="2021-07-09T05:31:17.111" v="552" actId="47"/>
        <pc:sldMkLst>
          <pc:docMk/>
          <pc:sldMk cId="3072119178" sldId="1488"/>
        </pc:sldMkLst>
      </pc:sldChg>
      <pc:sldChg chg="del">
        <pc:chgData name="Aurelien Domont" userId="6da7715ce44349b3" providerId="LiveId" clId="{749C0E2C-AAC6-401A-B449-B354DF3FBE4A}" dt="2021-07-09T05:31:20.672" v="553" actId="47"/>
        <pc:sldMkLst>
          <pc:docMk/>
          <pc:sldMk cId="926313830" sldId="1489"/>
        </pc:sldMkLst>
      </pc:sldChg>
      <pc:sldChg chg="del">
        <pc:chgData name="Aurelien Domont" userId="6da7715ce44349b3" providerId="LiveId" clId="{749C0E2C-AAC6-401A-B449-B354DF3FBE4A}" dt="2021-07-09T05:31:21.855" v="554" actId="47"/>
        <pc:sldMkLst>
          <pc:docMk/>
          <pc:sldMk cId="3370215172" sldId="1490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388158782" sldId="1514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2270541995" sldId="1519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112122695" sldId="1521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3014473461" sldId="1527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4130717619" sldId="1530"/>
        </pc:sldMkLst>
      </pc:sldChg>
      <pc:sldChg chg="del">
        <pc:chgData name="Aurelien Domont" userId="6da7715ce44349b3" providerId="LiveId" clId="{749C0E2C-AAC6-401A-B449-B354DF3FBE4A}" dt="2021-07-12T01:43:17.009" v="802" actId="47"/>
        <pc:sldMkLst>
          <pc:docMk/>
          <pc:sldMk cId="2853806433" sldId="1600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2815671749" sldId="1601"/>
        </pc:sldMkLst>
      </pc:sldChg>
      <pc:sldChg chg="del">
        <pc:chgData name="Aurelien Domont" userId="6da7715ce44349b3" providerId="LiveId" clId="{749C0E2C-AAC6-401A-B449-B354DF3FBE4A}" dt="2021-07-09T05:04:36.405" v="309" actId="47"/>
        <pc:sldMkLst>
          <pc:docMk/>
          <pc:sldMk cId="317099162" sldId="1749"/>
        </pc:sldMkLst>
      </pc:sldChg>
      <pc:sldChg chg="modSp add mod">
        <pc:chgData name="Aurelien Domont" userId="6da7715ce44349b3" providerId="LiveId" clId="{749C0E2C-AAC6-401A-B449-B354DF3FBE4A}" dt="2021-07-09T04:48:54.401" v="222" actId="20577"/>
        <pc:sldMkLst>
          <pc:docMk/>
          <pc:sldMk cId="3022188194" sldId="1922"/>
        </pc:sldMkLst>
        <pc:spChg chg="mod">
          <ac:chgData name="Aurelien Domont" userId="6da7715ce44349b3" providerId="LiveId" clId="{749C0E2C-AAC6-401A-B449-B354DF3FBE4A}" dt="2021-07-09T04:48:54.401" v="222" actId="20577"/>
          <ac:spMkLst>
            <pc:docMk/>
            <pc:sldMk cId="3022188194" sldId="1922"/>
            <ac:spMk id="14" creationId="{C9800183-F524-4412-AB39-A6E1A21FF0B3}"/>
          </ac:spMkLst>
        </pc:spChg>
      </pc:sldChg>
      <pc:sldChg chg="addSp modSp add">
        <pc:chgData name="Aurelien Domont" userId="6da7715ce44349b3" providerId="LiveId" clId="{749C0E2C-AAC6-401A-B449-B354DF3FBE4A}" dt="2021-07-09T05:15:57.831" v="339"/>
        <pc:sldMkLst>
          <pc:docMk/>
          <pc:sldMk cId="235018652" sldId="1927"/>
        </pc:sldMkLst>
        <pc:spChg chg="mod">
          <ac:chgData name="Aurelien Domont" userId="6da7715ce44349b3" providerId="LiveId" clId="{749C0E2C-AAC6-401A-B449-B354DF3FBE4A}" dt="2021-07-09T05:15:57.831" v="339"/>
          <ac:spMkLst>
            <pc:docMk/>
            <pc:sldMk cId="235018652" sldId="1927"/>
            <ac:spMk id="20" creationId="{129A6C6B-1CA1-481D-8F37-9F7A6CCB0596}"/>
          </ac:spMkLst>
        </pc:spChg>
        <pc:spChg chg="mod">
          <ac:chgData name="Aurelien Domont" userId="6da7715ce44349b3" providerId="LiveId" clId="{749C0E2C-AAC6-401A-B449-B354DF3FBE4A}" dt="2021-07-09T05:15:57.831" v="339"/>
          <ac:spMkLst>
            <pc:docMk/>
            <pc:sldMk cId="235018652" sldId="1927"/>
            <ac:spMk id="26" creationId="{B13EDE20-3971-4D68-9505-73A02D6B7F84}"/>
          </ac:spMkLst>
        </pc:spChg>
        <pc:grpChg chg="add mod">
          <ac:chgData name="Aurelien Domont" userId="6da7715ce44349b3" providerId="LiveId" clId="{749C0E2C-AAC6-401A-B449-B354DF3FBE4A}" dt="2021-07-09T05:15:57.831" v="339"/>
          <ac:grpSpMkLst>
            <pc:docMk/>
            <pc:sldMk cId="235018652" sldId="1927"/>
            <ac:grpSpMk id="19" creationId="{BA831923-BE4F-4217-A80C-31D2D69AB7F0}"/>
          </ac:grpSpMkLst>
        </pc:grpChg>
        <pc:cxnChg chg="mod">
          <ac:chgData name="Aurelien Domont" userId="6da7715ce44349b3" providerId="LiveId" clId="{749C0E2C-AAC6-401A-B449-B354DF3FBE4A}" dt="2021-07-09T05:15:57.831" v="339"/>
          <ac:cxnSpMkLst>
            <pc:docMk/>
            <pc:sldMk cId="235018652" sldId="1927"/>
            <ac:cxnSpMk id="27" creationId="{3FAB2AAB-5F17-4327-8825-B2D46440E12D}"/>
          </ac:cxnSpMkLst>
        </pc:cxnChg>
        <pc:cxnChg chg="mod">
          <ac:chgData name="Aurelien Domont" userId="6da7715ce44349b3" providerId="LiveId" clId="{749C0E2C-AAC6-401A-B449-B354DF3FBE4A}" dt="2021-07-09T05:15:57.831" v="339"/>
          <ac:cxnSpMkLst>
            <pc:docMk/>
            <pc:sldMk cId="235018652" sldId="1927"/>
            <ac:cxnSpMk id="28" creationId="{BB4A1489-6E98-4552-ADB7-D7F0AAC216C1}"/>
          </ac:cxnSpMkLst>
        </pc:cxnChg>
      </pc:sldChg>
      <pc:sldChg chg="add">
        <pc:chgData name="Aurelien Domont" userId="6da7715ce44349b3" providerId="LiveId" clId="{749C0E2C-AAC6-401A-B449-B354DF3FBE4A}" dt="2021-07-09T05:15:30.449" v="335"/>
        <pc:sldMkLst>
          <pc:docMk/>
          <pc:sldMk cId="802743741" sldId="1929"/>
        </pc:sldMkLst>
      </pc:sldChg>
      <pc:sldChg chg="addSp modSp add">
        <pc:chgData name="Aurelien Domont" userId="6da7715ce44349b3" providerId="LiveId" clId="{749C0E2C-AAC6-401A-B449-B354DF3FBE4A}" dt="2021-07-09T05:15:41.139" v="337"/>
        <pc:sldMkLst>
          <pc:docMk/>
          <pc:sldMk cId="784211076" sldId="1931"/>
        </pc:sldMkLst>
        <pc:spChg chg="mod">
          <ac:chgData name="Aurelien Domont" userId="6da7715ce44349b3" providerId="LiveId" clId="{749C0E2C-AAC6-401A-B449-B354DF3FBE4A}" dt="2021-07-09T05:15:41.139" v="337"/>
          <ac:spMkLst>
            <pc:docMk/>
            <pc:sldMk cId="784211076" sldId="1931"/>
            <ac:spMk id="22" creationId="{F3E0B619-41FC-425E-A4B8-645F419D9706}"/>
          </ac:spMkLst>
        </pc:spChg>
        <pc:spChg chg="mod">
          <ac:chgData name="Aurelien Domont" userId="6da7715ce44349b3" providerId="LiveId" clId="{749C0E2C-AAC6-401A-B449-B354DF3FBE4A}" dt="2021-07-09T05:15:41.139" v="337"/>
          <ac:spMkLst>
            <pc:docMk/>
            <pc:sldMk cId="784211076" sldId="1931"/>
            <ac:spMk id="23" creationId="{39E95F25-7BDB-49C5-9EAA-F6EBE923D32F}"/>
          </ac:spMkLst>
        </pc:spChg>
        <pc:grpChg chg="add mod">
          <ac:chgData name="Aurelien Domont" userId="6da7715ce44349b3" providerId="LiveId" clId="{749C0E2C-AAC6-401A-B449-B354DF3FBE4A}" dt="2021-07-09T05:15:41.139" v="337"/>
          <ac:grpSpMkLst>
            <pc:docMk/>
            <pc:sldMk cId="784211076" sldId="1931"/>
            <ac:grpSpMk id="21" creationId="{EAA4DB44-144B-41C7-BE22-640E72AB89B6}"/>
          </ac:grpSpMkLst>
        </pc:grpChg>
        <pc:cxnChg chg="mod">
          <ac:chgData name="Aurelien Domont" userId="6da7715ce44349b3" providerId="LiveId" clId="{749C0E2C-AAC6-401A-B449-B354DF3FBE4A}" dt="2021-07-09T05:15:41.139" v="337"/>
          <ac:cxnSpMkLst>
            <pc:docMk/>
            <pc:sldMk cId="784211076" sldId="1931"/>
            <ac:cxnSpMk id="24" creationId="{A85FC5BE-367C-42B9-A134-860A2253599E}"/>
          </ac:cxnSpMkLst>
        </pc:cxnChg>
        <pc:cxnChg chg="mod">
          <ac:chgData name="Aurelien Domont" userId="6da7715ce44349b3" providerId="LiveId" clId="{749C0E2C-AAC6-401A-B449-B354DF3FBE4A}" dt="2021-07-09T05:15:41.139" v="337"/>
          <ac:cxnSpMkLst>
            <pc:docMk/>
            <pc:sldMk cId="784211076" sldId="1931"/>
            <ac:cxnSpMk id="34" creationId="{A7CF562C-DA2E-406E-AE09-C8D054B250E8}"/>
          </ac:cxnSpMkLst>
        </pc:cxnChg>
      </pc:sldChg>
      <pc:sldChg chg="add del">
        <pc:chgData name="Aurelien Domont" userId="6da7715ce44349b3" providerId="LiveId" clId="{749C0E2C-AAC6-401A-B449-B354DF3FBE4A}" dt="2021-07-09T05:24:33.079" v="452"/>
        <pc:sldMkLst>
          <pc:docMk/>
          <pc:sldMk cId="387956599" sldId="1956"/>
        </pc:sldMkLst>
      </pc:sldChg>
      <pc:sldChg chg="modSp add mod">
        <pc:chgData name="Aurelien Domont" userId="6da7715ce44349b3" providerId="LiveId" clId="{749C0E2C-AAC6-401A-B449-B354DF3FBE4A}" dt="2021-07-09T05:38:04.853" v="614" actId="14100"/>
        <pc:sldMkLst>
          <pc:docMk/>
          <pc:sldMk cId="2974049731" sldId="1979"/>
        </pc:sldMkLst>
        <pc:graphicFrameChg chg="mod modGraphic">
          <ac:chgData name="Aurelien Domont" userId="6da7715ce44349b3" providerId="LiveId" clId="{749C0E2C-AAC6-401A-B449-B354DF3FBE4A}" dt="2021-07-09T05:38:04.853" v="614" actId="14100"/>
          <ac:graphicFrameMkLst>
            <pc:docMk/>
            <pc:sldMk cId="2974049731" sldId="1979"/>
            <ac:graphicFrameMk id="18" creationId="{1F158F34-2128-4653-A8C6-9678A73B1B0A}"/>
          </ac:graphicFrameMkLst>
        </pc:graphicFrameChg>
      </pc:sldChg>
      <pc:sldChg chg="add">
        <pc:chgData name="Aurelien Domont" userId="6da7715ce44349b3" providerId="LiveId" clId="{749C0E2C-AAC6-401A-B449-B354DF3FBE4A}" dt="2021-07-09T05:30:43.425" v="551"/>
        <pc:sldMkLst>
          <pc:docMk/>
          <pc:sldMk cId="3998626003" sldId="1980"/>
        </pc:sldMkLst>
      </pc:sldChg>
      <pc:sldChg chg="add">
        <pc:chgData name="Aurelien Domont" userId="6da7715ce44349b3" providerId="LiveId" clId="{749C0E2C-AAC6-401A-B449-B354DF3FBE4A}" dt="2021-07-09T05:40:28.638" v="622"/>
        <pc:sldMkLst>
          <pc:docMk/>
          <pc:sldMk cId="1026744296" sldId="1986"/>
        </pc:sldMkLst>
      </pc:sldChg>
      <pc:sldChg chg="del">
        <pc:chgData name="Aurelien Domont" userId="6da7715ce44349b3" providerId="LiveId" clId="{749C0E2C-AAC6-401A-B449-B354DF3FBE4A}" dt="2021-07-09T05:16:26.706" v="340" actId="47"/>
        <pc:sldMkLst>
          <pc:docMk/>
          <pc:sldMk cId="1479295029" sldId="2156"/>
        </pc:sldMkLst>
      </pc:sldChg>
      <pc:sldChg chg="delSp modSp mod ord">
        <pc:chgData name="Aurelien Domont" userId="6da7715ce44349b3" providerId="LiveId" clId="{749C0E2C-AAC6-401A-B449-B354DF3FBE4A}" dt="2021-07-09T05:04:01.114" v="308" actId="1037"/>
        <pc:sldMkLst>
          <pc:docMk/>
          <pc:sldMk cId="1073937120" sldId="2160"/>
        </pc:sldMkLst>
        <pc:spChg chg="mod">
          <ac:chgData name="Aurelien Domont" userId="6da7715ce44349b3" providerId="LiveId" clId="{749C0E2C-AAC6-401A-B449-B354DF3FBE4A}" dt="2021-07-09T05:02:30.861" v="285" actId="20577"/>
          <ac:spMkLst>
            <pc:docMk/>
            <pc:sldMk cId="1073937120" sldId="2160"/>
            <ac:spMk id="31" creationId="{80DB5C2A-CB4E-438A-8801-EB0869040D7B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3" creationId="{136CAC62-BD7A-4F23-AD5D-25BC893F5D06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4" creationId="{914710CC-43D0-40E4-BE38-8260007B17B9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5" creationId="{5DB60DCA-E97E-4CE1-BDE2-3F58612B673D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6" creationId="{F7C36D7A-1302-495A-B774-24A5AA9E12E9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7" creationId="{CD63437F-F6CC-47EB-B465-CD7C2718450E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8" creationId="{4C11F337-8F23-4C82-A3AC-E4155E5FF1FE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9" creationId="{7EFA4796-2F23-4499-ACA5-9E1468336A1C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40" creationId="{FB97BE99-9CA1-4E0F-8638-7537C1B51A33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41" creationId="{9659A567-73DB-4864-A2F9-26C32BFEA546}"/>
          </ac:spMkLst>
        </pc:spChg>
        <pc:spChg chg="mod">
          <ac:chgData name="Aurelien Domont" userId="6da7715ce44349b3" providerId="LiveId" clId="{749C0E2C-AAC6-401A-B449-B354DF3FBE4A}" dt="2021-07-09T05:02:36.101" v="287" actId="20577"/>
          <ac:spMkLst>
            <pc:docMk/>
            <pc:sldMk cId="1073937120" sldId="2160"/>
            <ac:spMk id="51" creationId="{7E31ED7F-C9D6-48C3-B1F3-EC53DABCBEF6}"/>
          </ac:spMkLst>
        </pc:spChg>
        <pc:grpChg chg="del mod">
          <ac:chgData name="Aurelien Domont" userId="6da7715ce44349b3" providerId="LiveId" clId="{749C0E2C-AAC6-401A-B449-B354DF3FBE4A}" dt="2021-07-09T05:03:19.075" v="290" actId="165"/>
          <ac:grpSpMkLst>
            <pc:docMk/>
            <pc:sldMk cId="1073937120" sldId="2160"/>
            <ac:grpSpMk id="4" creationId="{BD5EFEE5-15B1-4D1C-9CCE-C42E69F4F8C9}"/>
          </ac:grpSpMkLst>
        </pc:grpChg>
        <pc:picChg chg="mod topLvl">
          <ac:chgData name="Aurelien Domont" userId="6da7715ce44349b3" providerId="LiveId" clId="{749C0E2C-AAC6-401A-B449-B354DF3FBE4A}" dt="2021-07-09T05:03:28.937" v="293" actId="1076"/>
          <ac:picMkLst>
            <pc:docMk/>
            <pc:sldMk cId="1073937120" sldId="2160"/>
            <ac:picMk id="42" creationId="{31343271-C45F-467D-AA4A-4124839CA5E3}"/>
          </ac:picMkLst>
        </pc:picChg>
        <pc:picChg chg="mod topLvl">
          <ac:chgData name="Aurelien Domont" userId="6da7715ce44349b3" providerId="LiveId" clId="{749C0E2C-AAC6-401A-B449-B354DF3FBE4A}" dt="2021-07-09T05:03:40.897" v="297" actId="1076"/>
          <ac:picMkLst>
            <pc:docMk/>
            <pc:sldMk cId="1073937120" sldId="2160"/>
            <ac:picMk id="43" creationId="{50C1E75A-6425-4A9C-ABD3-BAFCF30AE0FC}"/>
          </ac:picMkLst>
        </pc:picChg>
        <pc:picChg chg="mod topLvl">
          <ac:chgData name="Aurelien Domont" userId="6da7715ce44349b3" providerId="LiveId" clId="{749C0E2C-AAC6-401A-B449-B354DF3FBE4A}" dt="2021-07-09T05:03:38.498" v="296" actId="1076"/>
          <ac:picMkLst>
            <pc:docMk/>
            <pc:sldMk cId="1073937120" sldId="2160"/>
            <ac:picMk id="44" creationId="{4D510F8B-D1F6-41E2-B9FD-D038A30AFC37}"/>
          </ac:picMkLst>
        </pc:picChg>
        <pc:picChg chg="mod topLvl">
          <ac:chgData name="Aurelien Domont" userId="6da7715ce44349b3" providerId="LiveId" clId="{749C0E2C-AAC6-401A-B449-B354DF3FBE4A}" dt="2021-07-09T05:03:49.794" v="299" actId="1076"/>
          <ac:picMkLst>
            <pc:docMk/>
            <pc:sldMk cId="1073937120" sldId="2160"/>
            <ac:picMk id="45" creationId="{18EBC665-B8FB-4DFC-B5CA-68E5E082DD4B}"/>
          </ac:picMkLst>
        </pc:picChg>
        <pc:picChg chg="mod topLvl">
          <ac:chgData name="Aurelien Domont" userId="6da7715ce44349b3" providerId="LiveId" clId="{749C0E2C-AAC6-401A-B449-B354DF3FBE4A}" dt="2021-07-09T05:03:47.245" v="298" actId="1076"/>
          <ac:picMkLst>
            <pc:docMk/>
            <pc:sldMk cId="1073937120" sldId="2160"/>
            <ac:picMk id="46" creationId="{DDD7D522-A1EE-4899-BEA4-A073505F8E80}"/>
          </ac:picMkLst>
        </pc:picChg>
        <pc:picChg chg="mod topLvl">
          <ac:chgData name="Aurelien Domont" userId="6da7715ce44349b3" providerId="LiveId" clId="{749C0E2C-AAC6-401A-B449-B354DF3FBE4A}" dt="2021-07-09T05:04:01.114" v="308" actId="1037"/>
          <ac:picMkLst>
            <pc:docMk/>
            <pc:sldMk cId="1073937120" sldId="2160"/>
            <ac:picMk id="47" creationId="{7099CF69-2587-4723-BDDC-C4F6D33AB3D2}"/>
          </ac:picMkLst>
        </pc:picChg>
        <pc:picChg chg="mod topLvl">
          <ac:chgData name="Aurelien Domont" userId="6da7715ce44349b3" providerId="LiveId" clId="{749C0E2C-AAC6-401A-B449-B354DF3FBE4A}" dt="2021-07-09T05:03:19.075" v="290" actId="165"/>
          <ac:picMkLst>
            <pc:docMk/>
            <pc:sldMk cId="1073937120" sldId="2160"/>
            <ac:picMk id="48" creationId="{0FDD7080-CF55-4944-B213-9A68EF10F7F7}"/>
          </ac:picMkLst>
        </pc:picChg>
        <pc:picChg chg="mod topLvl">
          <ac:chgData name="Aurelien Domont" userId="6da7715ce44349b3" providerId="LiveId" clId="{749C0E2C-AAC6-401A-B449-B354DF3FBE4A}" dt="2021-07-09T05:03:19.075" v="290" actId="165"/>
          <ac:picMkLst>
            <pc:docMk/>
            <pc:sldMk cId="1073937120" sldId="2160"/>
            <ac:picMk id="49" creationId="{9DAC47A1-5848-4981-80B4-EFBBC45F2565}"/>
          </ac:picMkLst>
        </pc:picChg>
        <pc:picChg chg="mod topLvl">
          <ac:chgData name="Aurelien Domont" userId="6da7715ce44349b3" providerId="LiveId" clId="{749C0E2C-AAC6-401A-B449-B354DF3FBE4A}" dt="2021-07-09T05:03:34.034" v="294" actId="1076"/>
          <ac:picMkLst>
            <pc:docMk/>
            <pc:sldMk cId="1073937120" sldId="2160"/>
            <ac:picMk id="50" creationId="{E2840E44-AE81-4EC8-A8F2-69A333075A70}"/>
          </ac:picMkLst>
        </pc:picChg>
      </pc:sldChg>
      <pc:sldChg chg="del">
        <pc:chgData name="Aurelien Domont" userId="6da7715ce44349b3" providerId="LiveId" clId="{749C0E2C-AAC6-401A-B449-B354DF3FBE4A}" dt="2021-07-09T05:04:40.140" v="310" actId="47"/>
        <pc:sldMkLst>
          <pc:docMk/>
          <pc:sldMk cId="62308209" sldId="2161"/>
        </pc:sldMkLst>
      </pc:sldChg>
      <pc:sldChg chg="del">
        <pc:chgData name="Aurelien Domont" userId="6da7715ce44349b3" providerId="LiveId" clId="{749C0E2C-AAC6-401A-B449-B354DF3FBE4A}" dt="2021-07-09T05:04:41.638" v="311" actId="47"/>
        <pc:sldMkLst>
          <pc:docMk/>
          <pc:sldMk cId="3272444503" sldId="2162"/>
        </pc:sldMkLst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3193088531" sldId="2164"/>
        </pc:sldMkLst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6" creationId="{80C2FA24-C3FF-4F99-8694-BA262AB8070A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7" creationId="{AA474FA7-23F8-48D3-A4A1-46C7E7EF8CBF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8" creationId="{44D82846-5412-4854-9CE9-6BD4A4D3F201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10" creationId="{F6F130AE-016B-49E7-B056-02422308B35C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11" creationId="{381FC75F-03AC-4E06-95A5-77AA464D139B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12" creationId="{F22BF9F2-93B5-4D57-85D0-BA4BB3074ECE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3193088531" sldId="2164"/>
            <ac:spMk id="15" creationId="{732724F5-813D-4E0C-955B-93EC1AD01210}"/>
          </ac:spMkLst>
        </pc:spChg>
        <pc:spChg chg="mod">
          <ac:chgData name="Aurelien Domont" userId="6da7715ce44349b3" providerId="LiveId" clId="{749C0E2C-AAC6-401A-B449-B354DF3FBE4A}" dt="2021-07-09T07:28:45.177" v="799" actId="255"/>
          <ac:spMkLst>
            <pc:docMk/>
            <pc:sldMk cId="3193088531" sldId="2164"/>
            <ac:spMk id="16" creationId="{6C2BB713-9637-4B9B-938F-E9768876782A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17" creationId="{BAEEACBE-E39A-4BC1-B55D-166857BB1CEC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18" creationId="{FCD01D50-6898-4F94-A2D3-151F072B5E6A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21" creationId="{04475BBB-2493-447A-9108-B1FDDAAEE739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22" creationId="{BFED4C53-91DC-4B0E-A0FE-AEA7E1F6E302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23" creationId="{06434AF8-353F-4315-B496-98AFB94390E4}"/>
          </ac:spMkLst>
        </pc:spChg>
        <pc:cxnChg chg="del">
          <ac:chgData name="Aurelien Domont" userId="6da7715ce44349b3" providerId="LiveId" clId="{749C0E2C-AAC6-401A-B449-B354DF3FBE4A}" dt="2021-07-09T05:05:21.864" v="316" actId="478"/>
          <ac:cxnSpMkLst>
            <pc:docMk/>
            <pc:sldMk cId="3193088531" sldId="2164"/>
            <ac:cxnSpMk id="9" creationId="{938E2F11-EEE6-4CE3-AA18-0A0EFEAFC83C}"/>
          </ac:cxnSpMkLst>
        </pc:cxnChg>
        <pc:cxnChg chg="del">
          <ac:chgData name="Aurelien Domont" userId="6da7715ce44349b3" providerId="LiveId" clId="{749C0E2C-AAC6-401A-B449-B354DF3FBE4A}" dt="2021-07-09T05:05:21.864" v="316" actId="478"/>
          <ac:cxnSpMkLst>
            <pc:docMk/>
            <pc:sldMk cId="3193088531" sldId="2164"/>
            <ac:cxnSpMk id="14" creationId="{BD538E77-947C-4FAE-B4B2-3DD1EF8F7624}"/>
          </ac:cxnSpMkLst>
        </pc:cxnChg>
        <pc:cxnChg chg="add del mod">
          <ac:chgData name="Aurelien Domont" userId="6da7715ce44349b3" providerId="LiveId" clId="{749C0E2C-AAC6-401A-B449-B354DF3FBE4A}" dt="2021-07-09T05:29:06.560" v="548" actId="478"/>
          <ac:cxnSpMkLst>
            <pc:docMk/>
            <pc:sldMk cId="3193088531" sldId="2164"/>
            <ac:cxnSpMk id="19" creationId="{D86A8D9F-88A9-408D-B177-08B0989546A8}"/>
          </ac:cxnSpMkLst>
        </pc:cxnChg>
        <pc:cxnChg chg="add del mod">
          <ac:chgData name="Aurelien Domont" userId="6da7715ce44349b3" providerId="LiveId" clId="{749C0E2C-AAC6-401A-B449-B354DF3FBE4A}" dt="2021-07-09T05:29:09.012" v="549" actId="478"/>
          <ac:cxnSpMkLst>
            <pc:docMk/>
            <pc:sldMk cId="3193088531" sldId="2164"/>
            <ac:cxnSpMk id="20" creationId="{3F820109-F453-4F6E-B517-7EB3BA9D006E}"/>
          </ac:cxnSpMkLst>
        </pc:cxnChg>
        <pc:cxnChg chg="add mod">
          <ac:chgData name="Aurelien Domont" userId="6da7715ce44349b3" providerId="LiveId" clId="{749C0E2C-AAC6-401A-B449-B354DF3FBE4A}" dt="2021-07-09T05:29:09.184" v="550"/>
          <ac:cxnSpMkLst>
            <pc:docMk/>
            <pc:sldMk cId="3193088531" sldId="2164"/>
            <ac:cxnSpMk id="24" creationId="{7DA920B0-69B0-48D7-8090-86754EC05ABA}"/>
          </ac:cxnSpMkLst>
        </pc:cxnChg>
        <pc:cxnChg chg="add mod">
          <ac:chgData name="Aurelien Domont" userId="6da7715ce44349b3" providerId="LiveId" clId="{749C0E2C-AAC6-401A-B449-B354DF3FBE4A}" dt="2021-07-09T05:29:09.184" v="550"/>
          <ac:cxnSpMkLst>
            <pc:docMk/>
            <pc:sldMk cId="3193088531" sldId="2164"/>
            <ac:cxnSpMk id="25" creationId="{4FBC7EE2-0F73-4E32-BDF4-026FD95A0CE3}"/>
          </ac:cxnSpMkLst>
        </pc:cxnChg>
      </pc:sldChg>
      <pc:sldChg chg="addSp delSp modSp mod">
        <pc:chgData name="Aurelien Domont" userId="6da7715ce44349b3" providerId="LiveId" clId="{749C0E2C-AAC6-401A-B449-B354DF3FBE4A}" dt="2021-07-09T07:29:38.845" v="800"/>
        <pc:sldMkLst>
          <pc:docMk/>
          <pc:sldMk cId="2400249224" sldId="2165"/>
        </pc:sldMkLst>
        <pc:spChg chg="mod">
          <ac:chgData name="Aurelien Domont" userId="6da7715ce44349b3" providerId="LiveId" clId="{749C0E2C-AAC6-401A-B449-B354DF3FBE4A}" dt="2021-07-09T05:51:22.623" v="761" actId="20577"/>
          <ac:spMkLst>
            <pc:docMk/>
            <pc:sldMk cId="2400249224" sldId="2165"/>
            <ac:spMk id="16" creationId="{6C2BB713-9637-4B9B-938F-E9768876782A}"/>
          </ac:spMkLst>
        </pc:spChg>
        <pc:spChg chg="mod">
          <ac:chgData name="Aurelien Domont" userId="6da7715ce44349b3" providerId="LiveId" clId="{749C0E2C-AAC6-401A-B449-B354DF3FBE4A}" dt="2021-07-09T07:29:38.845" v="800"/>
          <ac:spMkLst>
            <pc:docMk/>
            <pc:sldMk cId="2400249224" sldId="2165"/>
            <ac:spMk id="22" creationId="{2F78B30E-DA97-4E69-8F7E-6B67C7C7ACEC}"/>
          </ac:spMkLst>
        </pc:spChg>
        <pc:spChg chg="mod">
          <ac:chgData name="Aurelien Domont" userId="6da7715ce44349b3" providerId="LiveId" clId="{749C0E2C-AAC6-401A-B449-B354DF3FBE4A}" dt="2021-07-09T05:52:43.023" v="780" actId="1038"/>
          <ac:spMkLst>
            <pc:docMk/>
            <pc:sldMk cId="2400249224" sldId="2165"/>
            <ac:spMk id="23" creationId="{1EA029EC-6818-49F2-B572-01B2F5F20DEB}"/>
          </ac:spMkLst>
        </pc:spChg>
        <pc:spChg chg="mod">
          <ac:chgData name="Aurelien Domont" userId="6da7715ce44349b3" providerId="LiveId" clId="{749C0E2C-AAC6-401A-B449-B354DF3FBE4A}" dt="2021-07-09T05:52:39.404" v="773" actId="1038"/>
          <ac:spMkLst>
            <pc:docMk/>
            <pc:sldMk cId="2400249224" sldId="2165"/>
            <ac:spMk id="24" creationId="{C5DC413F-6B65-4481-B60E-C6DBB128152C}"/>
          </ac:spMkLst>
        </pc:spChg>
        <pc:spChg chg="add del mod">
          <ac:chgData name="Aurelien Domont" userId="6da7715ce44349b3" providerId="LiveId" clId="{749C0E2C-AAC6-401A-B449-B354DF3FBE4A}" dt="2021-07-09T05:53:06.983" v="788" actId="478"/>
          <ac:spMkLst>
            <pc:docMk/>
            <pc:sldMk cId="2400249224" sldId="2165"/>
            <ac:spMk id="27" creationId="{5892B393-C3A8-4045-8E33-2775E2A9BA0E}"/>
          </ac:spMkLst>
        </pc:spChg>
        <pc:spChg chg="add del mod">
          <ac:chgData name="Aurelien Domont" userId="6da7715ce44349b3" providerId="LiveId" clId="{749C0E2C-AAC6-401A-B449-B354DF3FBE4A}" dt="2021-07-09T05:53:06.983" v="788" actId="478"/>
          <ac:spMkLst>
            <pc:docMk/>
            <pc:sldMk cId="2400249224" sldId="2165"/>
            <ac:spMk id="28" creationId="{7915EB37-AEB5-4182-BCA5-6287F2AFC97A}"/>
          </ac:spMkLst>
        </pc:spChg>
        <pc:spChg chg="mod">
          <ac:chgData name="Aurelien Domont" userId="6da7715ce44349b3" providerId="LiveId" clId="{749C0E2C-AAC6-401A-B449-B354DF3FBE4A}" dt="2021-07-09T05:51:00.495" v="725" actId="20577"/>
          <ac:spMkLst>
            <pc:docMk/>
            <pc:sldMk cId="2400249224" sldId="2165"/>
            <ac:spMk id="29" creationId="{29DBF3F6-943A-4401-86EA-08968460D530}"/>
          </ac:spMkLst>
        </pc:spChg>
        <pc:spChg chg="mod">
          <ac:chgData name="Aurelien Domont" userId="6da7715ce44349b3" providerId="LiveId" clId="{749C0E2C-AAC6-401A-B449-B354DF3FBE4A}" dt="2021-07-09T05:51:04.702" v="729" actId="20577"/>
          <ac:spMkLst>
            <pc:docMk/>
            <pc:sldMk cId="2400249224" sldId="2165"/>
            <ac:spMk id="30" creationId="{C38C2946-25FF-4699-86AA-50F5DEBCFD04}"/>
          </ac:spMkLst>
        </pc:spChg>
        <pc:spChg chg="add del mod">
          <ac:chgData name="Aurelien Domont" userId="6da7715ce44349b3" providerId="LiveId" clId="{749C0E2C-AAC6-401A-B449-B354DF3FBE4A}" dt="2021-07-09T05:53:06.983" v="788" actId="478"/>
          <ac:spMkLst>
            <pc:docMk/>
            <pc:sldMk cId="2400249224" sldId="2165"/>
            <ac:spMk id="31" creationId="{DACB6A9D-2228-48B9-95F8-E05D456BED2A}"/>
          </ac:spMkLst>
        </pc:spChg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2369505737" sldId="2167"/>
        </pc:sldMkLst>
        <pc:spChg chg="del mod">
          <ac:chgData name="Aurelien Domont" userId="6da7715ce44349b3" providerId="LiveId" clId="{749C0E2C-AAC6-401A-B449-B354DF3FBE4A}" dt="2021-07-09T05:08:21.035" v="334" actId="478"/>
          <ac:spMkLst>
            <pc:docMk/>
            <pc:sldMk cId="2369505737" sldId="2167"/>
            <ac:spMk id="6" creationId="{61BD4388-6F9D-4C31-90C2-680E7FD1FB33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7" creationId="{058165D9-C6C5-41CE-8E4E-2D521B573407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8" creationId="{5E265501-976D-4DCF-A6F8-A1059EF162B8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10" creationId="{B4598AEF-78F8-475E-AC7D-E8372096BAB2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11" creationId="{45404312-C950-45DC-812F-5152B826E641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12" creationId="{19A483B2-8F29-40FE-8DE1-64429566E02B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2369505737" sldId="2167"/>
            <ac:spMk id="15" creationId="{3D6571D5-A81D-4415-8BC9-38148D060548}"/>
          </ac:spMkLst>
        </pc:spChg>
        <pc:spChg chg="mod">
          <ac:chgData name="Aurelien Domont" userId="6da7715ce44349b3" providerId="LiveId" clId="{749C0E2C-AAC6-401A-B449-B354DF3FBE4A}" dt="2021-07-09T05:07:33.875" v="327" actId="20577"/>
          <ac:spMkLst>
            <pc:docMk/>
            <pc:sldMk cId="2369505737" sldId="2167"/>
            <ac:spMk id="16" creationId="{6C2BB713-9637-4B9B-938F-E9768876782A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17" creationId="{5611752A-CBCE-4358-A06D-CD5B7D3FCBA5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18" creationId="{941B4194-451D-4C8C-86F3-43266AF5F1C9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21" creationId="{45CED05E-9538-4A61-8AE5-0AB13C4EB9B7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22" creationId="{4C81D99D-DC3D-42DB-9B56-C3EA06DC6B38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23" creationId="{8E53CE99-66E6-4B19-90D2-F9280357A5E8}"/>
          </ac:spMkLst>
        </pc:spChg>
        <pc:cxnChg chg="del">
          <ac:chgData name="Aurelien Domont" userId="6da7715ce44349b3" providerId="LiveId" clId="{749C0E2C-AAC6-401A-B449-B354DF3FBE4A}" dt="2021-07-09T05:08:11.202" v="331" actId="478"/>
          <ac:cxnSpMkLst>
            <pc:docMk/>
            <pc:sldMk cId="2369505737" sldId="2167"/>
            <ac:cxnSpMk id="9" creationId="{29940A68-0B12-4DB4-B6BF-26CE87860A62}"/>
          </ac:cxnSpMkLst>
        </pc:cxnChg>
        <pc:cxnChg chg="del">
          <ac:chgData name="Aurelien Domont" userId="6da7715ce44349b3" providerId="LiveId" clId="{749C0E2C-AAC6-401A-B449-B354DF3FBE4A}" dt="2021-07-09T05:08:11.202" v="331" actId="478"/>
          <ac:cxnSpMkLst>
            <pc:docMk/>
            <pc:sldMk cId="2369505737" sldId="2167"/>
            <ac:cxnSpMk id="14" creationId="{14CD9B99-0907-4DB9-B10F-F0E0E658423E}"/>
          </ac:cxnSpMkLst>
        </pc:cxnChg>
        <pc:cxnChg chg="add del mod">
          <ac:chgData name="Aurelien Domont" userId="6da7715ce44349b3" providerId="LiveId" clId="{749C0E2C-AAC6-401A-B449-B354DF3FBE4A}" dt="2021-07-09T05:28:58.797" v="545" actId="478"/>
          <ac:cxnSpMkLst>
            <pc:docMk/>
            <pc:sldMk cId="2369505737" sldId="2167"/>
            <ac:cxnSpMk id="19" creationId="{72D89C4B-C588-4928-AF16-4BF8CC9A23C4}"/>
          </ac:cxnSpMkLst>
        </pc:cxnChg>
        <pc:cxnChg chg="add del mod">
          <ac:chgData name="Aurelien Domont" userId="6da7715ce44349b3" providerId="LiveId" clId="{749C0E2C-AAC6-401A-B449-B354DF3FBE4A}" dt="2021-07-09T05:29:02.375" v="546" actId="478"/>
          <ac:cxnSpMkLst>
            <pc:docMk/>
            <pc:sldMk cId="2369505737" sldId="2167"/>
            <ac:cxnSpMk id="20" creationId="{49098806-C058-405D-A302-6A2E67A66FA0}"/>
          </ac:cxnSpMkLst>
        </pc:cxnChg>
        <pc:cxnChg chg="add mod">
          <ac:chgData name="Aurelien Domont" userId="6da7715ce44349b3" providerId="LiveId" clId="{749C0E2C-AAC6-401A-B449-B354DF3FBE4A}" dt="2021-07-09T05:29:02.652" v="547"/>
          <ac:cxnSpMkLst>
            <pc:docMk/>
            <pc:sldMk cId="2369505737" sldId="2167"/>
            <ac:cxnSpMk id="24" creationId="{2B005BE4-D55B-4537-AAED-FE1BBF2126EE}"/>
          </ac:cxnSpMkLst>
        </pc:cxnChg>
        <pc:cxnChg chg="add mod">
          <ac:chgData name="Aurelien Domont" userId="6da7715ce44349b3" providerId="LiveId" clId="{749C0E2C-AAC6-401A-B449-B354DF3FBE4A}" dt="2021-07-09T05:29:02.652" v="547"/>
          <ac:cxnSpMkLst>
            <pc:docMk/>
            <pc:sldMk cId="2369505737" sldId="2167"/>
            <ac:cxnSpMk id="25" creationId="{B39B4D90-31A2-44E7-B90E-A9086938B32F}"/>
          </ac:cxnSpMkLst>
        </pc:cxnChg>
      </pc:sldChg>
      <pc:sldChg chg="addSp delSp modSp mod ord">
        <pc:chgData name="Aurelien Domont" userId="6da7715ce44349b3" providerId="LiveId" clId="{749C0E2C-AAC6-401A-B449-B354DF3FBE4A}" dt="2021-07-09T05:33:47.777" v="573" actId="478"/>
        <pc:sldMkLst>
          <pc:docMk/>
          <pc:sldMk cId="4178836903" sldId="2169"/>
        </pc:sldMkLst>
        <pc:spChg chg="mod">
          <ac:chgData name="Aurelien Domont" userId="6da7715ce44349b3" providerId="LiveId" clId="{749C0E2C-AAC6-401A-B449-B354DF3FBE4A}" dt="2021-07-09T05:22:42.479" v="445" actId="20577"/>
          <ac:spMkLst>
            <pc:docMk/>
            <pc:sldMk cId="4178836903" sldId="2169"/>
            <ac:spMk id="12" creationId="{E7675798-47BC-4250-BA24-0E2AC4A10A86}"/>
          </ac:spMkLst>
        </pc:spChg>
        <pc:spChg chg="mod">
          <ac:chgData name="Aurelien Domont" userId="6da7715ce44349b3" providerId="LiveId" clId="{749C0E2C-AAC6-401A-B449-B354DF3FBE4A}" dt="2021-07-09T05:26:03.909" v="514" actId="554"/>
          <ac:spMkLst>
            <pc:docMk/>
            <pc:sldMk cId="4178836903" sldId="2169"/>
            <ac:spMk id="15" creationId="{9D051C05-62A5-4FB5-846C-31987D33AA9E}"/>
          </ac:spMkLst>
        </pc:spChg>
        <pc:spChg chg="mod">
          <ac:chgData name="Aurelien Domont" userId="6da7715ce44349b3" providerId="LiveId" clId="{749C0E2C-AAC6-401A-B449-B354DF3FBE4A}" dt="2021-07-09T05:22:47.524" v="449" actId="20577"/>
          <ac:spMkLst>
            <pc:docMk/>
            <pc:sldMk cId="4178836903" sldId="2169"/>
            <ac:spMk id="17" creationId="{142BE8BF-9256-475D-900B-55FCC0CE6DB5}"/>
          </ac:spMkLst>
        </pc:spChg>
        <pc:spChg chg="mod">
          <ac:chgData name="Aurelien Domont" userId="6da7715ce44349b3" providerId="LiveId" clId="{749C0E2C-AAC6-401A-B449-B354DF3FBE4A}" dt="2021-07-09T05:26:33.261" v="521" actId="20577"/>
          <ac:spMkLst>
            <pc:docMk/>
            <pc:sldMk cId="4178836903" sldId="2169"/>
            <ac:spMk id="19" creationId="{B9017FA6-F0E0-4269-9C6B-53FA5BEF3E64}"/>
          </ac:spMkLst>
        </pc:spChg>
        <pc:spChg chg="add mod">
          <ac:chgData name="Aurelien Domont" userId="6da7715ce44349b3" providerId="LiveId" clId="{749C0E2C-AAC6-401A-B449-B354DF3FBE4A}" dt="2021-07-09T05:25:41.900" v="511" actId="571"/>
          <ac:spMkLst>
            <pc:docMk/>
            <pc:sldMk cId="4178836903" sldId="2169"/>
            <ac:spMk id="24" creationId="{356D6848-BC2C-47BB-A464-F2F28757F4FD}"/>
          </ac:spMkLst>
        </pc:spChg>
        <pc:picChg chg="del">
          <ac:chgData name="Aurelien Domont" userId="6da7715ce44349b3" providerId="LiveId" clId="{749C0E2C-AAC6-401A-B449-B354DF3FBE4A}" dt="2021-07-09T05:19:12.251" v="382" actId="478"/>
          <ac:picMkLst>
            <pc:docMk/>
            <pc:sldMk cId="4178836903" sldId="2169"/>
            <ac:picMk id="2" creationId="{84E5CC93-D5AA-458E-BB87-714F1E53178E}"/>
          </ac:picMkLst>
        </pc:picChg>
        <pc:picChg chg="del">
          <ac:chgData name="Aurelien Domont" userId="6da7715ce44349b3" providerId="LiveId" clId="{749C0E2C-AAC6-401A-B449-B354DF3FBE4A}" dt="2021-07-09T05:20:20.540" v="387" actId="478"/>
          <ac:picMkLst>
            <pc:docMk/>
            <pc:sldMk cId="4178836903" sldId="2169"/>
            <ac:picMk id="3" creationId="{097ECFA8-B152-4816-9DCE-7FB11FD32803}"/>
          </ac:picMkLst>
        </pc:picChg>
        <pc:picChg chg="del">
          <ac:chgData name="Aurelien Domont" userId="6da7715ce44349b3" providerId="LiveId" clId="{749C0E2C-AAC6-401A-B449-B354DF3FBE4A}" dt="2021-07-09T05:33:41.202" v="568" actId="478"/>
          <ac:picMkLst>
            <pc:docMk/>
            <pc:sldMk cId="4178836903" sldId="2169"/>
            <ac:picMk id="4" creationId="{71090539-4853-42C0-8BB5-619FDF372F84}"/>
          </ac:picMkLst>
        </pc:picChg>
        <pc:picChg chg="del">
          <ac:chgData name="Aurelien Domont" userId="6da7715ce44349b3" providerId="LiveId" clId="{749C0E2C-AAC6-401A-B449-B354DF3FBE4A}" dt="2021-07-09T05:33:41.808" v="569" actId="478"/>
          <ac:picMkLst>
            <pc:docMk/>
            <pc:sldMk cId="4178836903" sldId="2169"/>
            <ac:picMk id="11" creationId="{F7A9918B-B7CD-4643-8B6A-74AEBFA4B2C2}"/>
          </ac:picMkLst>
        </pc:picChg>
        <pc:picChg chg="add del mod ord">
          <ac:chgData name="Aurelien Domont" userId="6da7715ce44349b3" providerId="LiveId" clId="{749C0E2C-AAC6-401A-B449-B354DF3FBE4A}" dt="2021-07-09T05:33:47.777" v="573" actId="478"/>
          <ac:picMkLst>
            <pc:docMk/>
            <pc:sldMk cId="4178836903" sldId="2169"/>
            <ac:picMk id="18" creationId="{59AB60AD-34C2-48C3-B1C3-270DF47CA885}"/>
          </ac:picMkLst>
        </pc:picChg>
        <pc:picChg chg="add del mod ord">
          <ac:chgData name="Aurelien Domont" userId="6da7715ce44349b3" providerId="LiveId" clId="{749C0E2C-AAC6-401A-B449-B354DF3FBE4A}" dt="2021-07-09T05:33:45.393" v="571" actId="478"/>
          <ac:picMkLst>
            <pc:docMk/>
            <pc:sldMk cId="4178836903" sldId="2169"/>
            <ac:picMk id="20" creationId="{1B9CE67E-A6E1-4208-B6E4-E6F84641CB49}"/>
          </ac:picMkLst>
        </pc:picChg>
        <pc:picChg chg="add mod ord">
          <ac:chgData name="Aurelien Domont" userId="6da7715ce44349b3" providerId="LiveId" clId="{749C0E2C-AAC6-401A-B449-B354DF3FBE4A}" dt="2021-07-09T05:33:38.510" v="567" actId="167"/>
          <ac:picMkLst>
            <pc:docMk/>
            <pc:sldMk cId="4178836903" sldId="2169"/>
            <ac:picMk id="21" creationId="{3194D5C0-2C7F-4EEF-86D7-9A7CA85D725F}"/>
          </ac:picMkLst>
        </pc:picChg>
        <pc:picChg chg="add mod ord">
          <ac:chgData name="Aurelien Domont" userId="6da7715ce44349b3" providerId="LiveId" clId="{749C0E2C-AAC6-401A-B449-B354DF3FBE4A}" dt="2021-07-09T05:33:38.510" v="567" actId="167"/>
          <ac:picMkLst>
            <pc:docMk/>
            <pc:sldMk cId="4178836903" sldId="2169"/>
            <ac:picMk id="22" creationId="{3E2EBA1D-E7AB-4BF9-B88D-2803148DD833}"/>
          </ac:picMkLst>
        </pc:picChg>
        <pc:picChg chg="add mod">
          <ac:chgData name="Aurelien Domont" userId="6da7715ce44349b3" providerId="LiveId" clId="{749C0E2C-AAC6-401A-B449-B354DF3FBE4A}" dt="2021-07-09T05:25:36.168" v="509" actId="571"/>
          <ac:picMkLst>
            <pc:docMk/>
            <pc:sldMk cId="4178836903" sldId="2169"/>
            <ac:picMk id="23" creationId="{22767995-D862-4D58-871F-2F729FA5B1F7}"/>
          </ac:picMkLst>
        </pc:picChg>
      </pc:sldChg>
      <pc:sldChg chg="del">
        <pc:chgData name="Aurelien Domont" userId="6da7715ce44349b3" providerId="LiveId" clId="{749C0E2C-AAC6-401A-B449-B354DF3FBE4A}" dt="2021-07-09T05:16:27.861" v="341" actId="47"/>
        <pc:sldMkLst>
          <pc:docMk/>
          <pc:sldMk cId="2678382071" sldId="2170"/>
        </pc:sldMkLst>
      </pc:sldChg>
      <pc:sldChg chg="addSp modSp add">
        <pc:chgData name="Aurelien Domont" userId="6da7715ce44349b3" providerId="LiveId" clId="{749C0E2C-AAC6-401A-B449-B354DF3FBE4A}" dt="2021-07-09T05:15:52.482" v="338"/>
        <pc:sldMkLst>
          <pc:docMk/>
          <pc:sldMk cId="150556238" sldId="2178"/>
        </pc:sldMkLst>
        <pc:spChg chg="mod">
          <ac:chgData name="Aurelien Domont" userId="6da7715ce44349b3" providerId="LiveId" clId="{749C0E2C-AAC6-401A-B449-B354DF3FBE4A}" dt="2021-07-09T05:15:52.482" v="338"/>
          <ac:spMkLst>
            <pc:docMk/>
            <pc:sldMk cId="150556238" sldId="2178"/>
            <ac:spMk id="27" creationId="{CBA8037E-4714-48A2-A249-7B093EBC660E}"/>
          </ac:spMkLst>
        </pc:spChg>
        <pc:spChg chg="mod">
          <ac:chgData name="Aurelien Domont" userId="6da7715ce44349b3" providerId="LiveId" clId="{749C0E2C-AAC6-401A-B449-B354DF3FBE4A}" dt="2021-07-09T05:15:52.482" v="338"/>
          <ac:spMkLst>
            <pc:docMk/>
            <pc:sldMk cId="150556238" sldId="2178"/>
            <ac:spMk id="28" creationId="{0413E736-56D8-4E6E-AA20-48F6F96679BE}"/>
          </ac:spMkLst>
        </pc:spChg>
        <pc:grpChg chg="add mod">
          <ac:chgData name="Aurelien Domont" userId="6da7715ce44349b3" providerId="LiveId" clId="{749C0E2C-AAC6-401A-B449-B354DF3FBE4A}" dt="2021-07-09T05:15:52.482" v="338"/>
          <ac:grpSpMkLst>
            <pc:docMk/>
            <pc:sldMk cId="150556238" sldId="2178"/>
            <ac:grpSpMk id="26" creationId="{CB1789E9-8C25-4D6E-A1C0-F542C611402A}"/>
          </ac:grpSpMkLst>
        </pc:grpChg>
        <pc:cxnChg chg="mod">
          <ac:chgData name="Aurelien Domont" userId="6da7715ce44349b3" providerId="LiveId" clId="{749C0E2C-AAC6-401A-B449-B354DF3FBE4A}" dt="2021-07-09T05:15:52.482" v="338"/>
          <ac:cxnSpMkLst>
            <pc:docMk/>
            <pc:sldMk cId="150556238" sldId="2178"/>
            <ac:cxnSpMk id="29" creationId="{58F4D1B5-3824-4AB8-A1CF-487B0FD1480A}"/>
          </ac:cxnSpMkLst>
        </pc:cxnChg>
        <pc:cxnChg chg="mod">
          <ac:chgData name="Aurelien Domont" userId="6da7715ce44349b3" providerId="LiveId" clId="{749C0E2C-AAC6-401A-B449-B354DF3FBE4A}" dt="2021-07-09T05:15:52.482" v="338"/>
          <ac:cxnSpMkLst>
            <pc:docMk/>
            <pc:sldMk cId="150556238" sldId="2178"/>
            <ac:cxnSpMk id="30" creationId="{0901AF6E-7AD7-4CCA-9379-E9A0006828D1}"/>
          </ac:cxnSpMkLst>
        </pc:cxnChg>
      </pc:sldChg>
      <pc:sldChg chg="addSp modSp add">
        <pc:chgData name="Aurelien Domont" userId="6da7715ce44349b3" providerId="LiveId" clId="{749C0E2C-AAC6-401A-B449-B354DF3FBE4A}" dt="2021-07-09T05:15:38.572" v="336"/>
        <pc:sldMkLst>
          <pc:docMk/>
          <pc:sldMk cId="1447101754" sldId="2185"/>
        </pc:sldMkLst>
        <pc:spChg chg="mod">
          <ac:chgData name="Aurelien Domont" userId="6da7715ce44349b3" providerId="LiveId" clId="{749C0E2C-AAC6-401A-B449-B354DF3FBE4A}" dt="2021-07-09T05:15:38.572" v="336"/>
          <ac:spMkLst>
            <pc:docMk/>
            <pc:sldMk cId="1447101754" sldId="2185"/>
            <ac:spMk id="20" creationId="{FD550525-4C89-4917-8332-BED7F3C316AA}"/>
          </ac:spMkLst>
        </pc:spChg>
        <pc:spChg chg="mod">
          <ac:chgData name="Aurelien Domont" userId="6da7715ce44349b3" providerId="LiveId" clId="{749C0E2C-AAC6-401A-B449-B354DF3FBE4A}" dt="2021-07-09T05:15:38.572" v="336"/>
          <ac:spMkLst>
            <pc:docMk/>
            <pc:sldMk cId="1447101754" sldId="2185"/>
            <ac:spMk id="25" creationId="{E2DEF60F-19D9-4000-B374-CFC0796D1125}"/>
          </ac:spMkLst>
        </pc:spChg>
        <pc:grpChg chg="add mod">
          <ac:chgData name="Aurelien Domont" userId="6da7715ce44349b3" providerId="LiveId" clId="{749C0E2C-AAC6-401A-B449-B354DF3FBE4A}" dt="2021-07-09T05:15:38.572" v="336"/>
          <ac:grpSpMkLst>
            <pc:docMk/>
            <pc:sldMk cId="1447101754" sldId="2185"/>
            <ac:grpSpMk id="19" creationId="{2C3F34CC-0E09-4B44-A7F2-59A775DDC0ED}"/>
          </ac:grpSpMkLst>
        </pc:grpChg>
        <pc:cxnChg chg="mod">
          <ac:chgData name="Aurelien Domont" userId="6da7715ce44349b3" providerId="LiveId" clId="{749C0E2C-AAC6-401A-B449-B354DF3FBE4A}" dt="2021-07-09T05:15:38.572" v="336"/>
          <ac:cxnSpMkLst>
            <pc:docMk/>
            <pc:sldMk cId="1447101754" sldId="2185"/>
            <ac:cxnSpMk id="26" creationId="{33B71947-6E5D-4B22-AD49-9BB541EFF75C}"/>
          </ac:cxnSpMkLst>
        </pc:cxnChg>
        <pc:cxnChg chg="mod">
          <ac:chgData name="Aurelien Domont" userId="6da7715ce44349b3" providerId="LiveId" clId="{749C0E2C-AAC6-401A-B449-B354DF3FBE4A}" dt="2021-07-09T05:15:38.572" v="336"/>
          <ac:cxnSpMkLst>
            <pc:docMk/>
            <pc:sldMk cId="1447101754" sldId="2185"/>
            <ac:cxnSpMk id="27" creationId="{163CCB36-0CFB-4608-97A0-F4E337CC8705}"/>
          </ac:cxnSpMkLst>
        </pc:cxnChg>
      </pc:sldChg>
      <pc:sldChg chg="del">
        <pc:chgData name="Aurelien Domont" userId="6da7715ce44349b3" providerId="LiveId" clId="{749C0E2C-AAC6-401A-B449-B354DF3FBE4A}" dt="2021-07-09T05:16:33.659" v="342" actId="47"/>
        <pc:sldMkLst>
          <pc:docMk/>
          <pc:sldMk cId="4258618140" sldId="2187"/>
        </pc:sldMkLst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1390113814" sldId="2188"/>
        </pc:sldMkLst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6" creationId="{61BD4388-6F9D-4C31-90C2-680E7FD1FB33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7" creationId="{058165D9-C6C5-41CE-8E4E-2D521B573407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8" creationId="{5E265501-976D-4DCF-A6F8-A1059EF162B8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10" creationId="{B4598AEF-78F8-475E-AC7D-E8372096BAB2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11" creationId="{45404312-C950-45DC-812F-5152B826E641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12" creationId="{19A483B2-8F29-40FE-8DE1-64429566E02B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1390113814" sldId="2188"/>
            <ac:spMk id="15" creationId="{877C6533-1D2F-4E9A-B4B5-42313CF7613F}"/>
          </ac:spMkLst>
        </pc:spChg>
        <pc:spChg chg="add mod">
          <ac:chgData name="Aurelien Domont" userId="6da7715ce44349b3" providerId="LiveId" clId="{749C0E2C-AAC6-401A-B449-B354DF3FBE4A}" dt="2021-07-09T05:28:16.504" v="526" actId="108"/>
          <ac:spMkLst>
            <pc:docMk/>
            <pc:sldMk cId="1390113814" sldId="2188"/>
            <ac:spMk id="17" creationId="{6EE3CC72-95A6-48D7-8011-475BE024D7E6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18" creationId="{31580B4C-332F-4FD8-8B94-A6A4EC2B04BF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21" creationId="{9CB0ED75-1FFB-4788-A271-FAFA31D27BEB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22" creationId="{29753273-0B70-4BAE-AC7B-0FA69A95CB61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23" creationId="{849022C9-D090-4045-B455-50CD4A352FE7}"/>
          </ac:spMkLst>
        </pc:spChg>
        <pc:cxnChg chg="del">
          <ac:chgData name="Aurelien Domont" userId="6da7715ce44349b3" providerId="LiveId" clId="{749C0E2C-AAC6-401A-B449-B354DF3FBE4A}" dt="2021-07-09T05:26:48.653" v="524" actId="478"/>
          <ac:cxnSpMkLst>
            <pc:docMk/>
            <pc:sldMk cId="1390113814" sldId="2188"/>
            <ac:cxnSpMk id="9" creationId="{29940A68-0B12-4DB4-B6BF-26CE87860A62}"/>
          </ac:cxnSpMkLst>
        </pc:cxnChg>
        <pc:cxnChg chg="del">
          <ac:chgData name="Aurelien Domont" userId="6da7715ce44349b3" providerId="LiveId" clId="{749C0E2C-AAC6-401A-B449-B354DF3FBE4A}" dt="2021-07-09T05:26:48.653" v="524" actId="478"/>
          <ac:cxnSpMkLst>
            <pc:docMk/>
            <pc:sldMk cId="1390113814" sldId="2188"/>
            <ac:cxnSpMk id="14" creationId="{14CD9B99-0907-4DB9-B10F-F0E0E658423E}"/>
          </ac:cxnSpMkLst>
        </pc:cxnChg>
        <pc:cxnChg chg="add mod">
          <ac:chgData name="Aurelien Domont" userId="6da7715ce44349b3" providerId="LiveId" clId="{749C0E2C-AAC6-401A-B449-B354DF3FBE4A}" dt="2021-07-09T05:28:45.117" v="544" actId="208"/>
          <ac:cxnSpMkLst>
            <pc:docMk/>
            <pc:sldMk cId="1390113814" sldId="2188"/>
            <ac:cxnSpMk id="19" creationId="{4A15DCC6-E11C-48F8-96BE-E366DDB8D84E}"/>
          </ac:cxnSpMkLst>
        </pc:cxnChg>
        <pc:cxnChg chg="add mod">
          <ac:chgData name="Aurelien Domont" userId="6da7715ce44349b3" providerId="LiveId" clId="{749C0E2C-AAC6-401A-B449-B354DF3FBE4A}" dt="2021-07-09T05:28:42.212" v="543" actId="208"/>
          <ac:cxnSpMkLst>
            <pc:docMk/>
            <pc:sldMk cId="1390113814" sldId="2188"/>
            <ac:cxnSpMk id="20" creationId="{701E0FED-146B-42C9-A94A-5C606EBC465D}"/>
          </ac:cxnSpMkLst>
        </pc:cxnChg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1002747840" sldId="2189"/>
        </pc:sldMkLst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6" creationId="{61BD4388-6F9D-4C31-90C2-680E7FD1FB33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7" creationId="{058165D9-C6C5-41CE-8E4E-2D521B573407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8" creationId="{5E265501-976D-4DCF-A6F8-A1059EF162B8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10" creationId="{B4598AEF-78F8-475E-AC7D-E8372096BAB2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11" creationId="{45404312-C950-45DC-812F-5152B826E641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12" creationId="{19A483B2-8F29-40FE-8DE1-64429566E02B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1002747840" sldId="2189"/>
            <ac:spMk id="15" creationId="{7A46184B-3628-4632-ACCB-19BCA96A8AC8}"/>
          </ac:spMkLst>
        </pc:spChg>
        <pc:spChg chg="add mod">
          <ac:chgData name="Aurelien Domont" userId="6da7715ce44349b3" providerId="LiveId" clId="{749C0E2C-AAC6-401A-B449-B354DF3FBE4A}" dt="2021-07-09T05:38:59.645" v="620" actId="108"/>
          <ac:spMkLst>
            <pc:docMk/>
            <pc:sldMk cId="1002747840" sldId="2189"/>
            <ac:spMk id="17" creationId="{66AC2ACA-1592-4210-B804-A2FB73E55DCB}"/>
          </ac:spMkLst>
        </pc:spChg>
        <pc:spChg chg="add mod">
          <ac:chgData name="Aurelien Domont" userId="6da7715ce44349b3" providerId="LiveId" clId="{749C0E2C-AAC6-401A-B449-B354DF3FBE4A}" dt="2021-07-09T05:38:57.230" v="619" actId="108"/>
          <ac:spMkLst>
            <pc:docMk/>
            <pc:sldMk cId="1002747840" sldId="2189"/>
            <ac:spMk id="18" creationId="{4BE3F345-D5FA-46F9-B3D9-E9A2299A0EE8}"/>
          </ac:spMkLst>
        </pc:spChg>
        <pc:spChg chg="add mod">
          <ac:chgData name="Aurelien Domont" userId="6da7715ce44349b3" providerId="LiveId" clId="{749C0E2C-AAC6-401A-B449-B354DF3FBE4A}" dt="2021-07-09T05:38:53.549" v="618"/>
          <ac:spMkLst>
            <pc:docMk/>
            <pc:sldMk cId="1002747840" sldId="2189"/>
            <ac:spMk id="21" creationId="{A4E9365C-EC6D-4C73-9668-3952B41AE223}"/>
          </ac:spMkLst>
        </pc:spChg>
        <pc:spChg chg="add mod">
          <ac:chgData name="Aurelien Domont" userId="6da7715ce44349b3" providerId="LiveId" clId="{749C0E2C-AAC6-401A-B449-B354DF3FBE4A}" dt="2021-07-09T05:38:53.549" v="618"/>
          <ac:spMkLst>
            <pc:docMk/>
            <pc:sldMk cId="1002747840" sldId="2189"/>
            <ac:spMk id="22" creationId="{70FE8D2B-187B-4FEB-B998-C2E36F1DB63B}"/>
          </ac:spMkLst>
        </pc:spChg>
        <pc:spChg chg="add mod">
          <ac:chgData name="Aurelien Domont" userId="6da7715ce44349b3" providerId="LiveId" clId="{749C0E2C-AAC6-401A-B449-B354DF3FBE4A}" dt="2021-07-09T05:38:53.549" v="618"/>
          <ac:spMkLst>
            <pc:docMk/>
            <pc:sldMk cId="1002747840" sldId="2189"/>
            <ac:spMk id="23" creationId="{E85146C0-60A9-4211-A1A9-BFBDC7E94DCB}"/>
          </ac:spMkLst>
        </pc:spChg>
        <pc:cxnChg chg="del">
          <ac:chgData name="Aurelien Domont" userId="6da7715ce44349b3" providerId="LiveId" clId="{749C0E2C-AAC6-401A-B449-B354DF3FBE4A}" dt="2021-07-09T05:38:47.692" v="617" actId="478"/>
          <ac:cxnSpMkLst>
            <pc:docMk/>
            <pc:sldMk cId="1002747840" sldId="2189"/>
            <ac:cxnSpMk id="9" creationId="{29940A68-0B12-4DB4-B6BF-26CE87860A62}"/>
          </ac:cxnSpMkLst>
        </pc:cxnChg>
        <pc:cxnChg chg="del">
          <ac:chgData name="Aurelien Domont" userId="6da7715ce44349b3" providerId="LiveId" clId="{749C0E2C-AAC6-401A-B449-B354DF3FBE4A}" dt="2021-07-09T05:38:47.692" v="617" actId="478"/>
          <ac:cxnSpMkLst>
            <pc:docMk/>
            <pc:sldMk cId="1002747840" sldId="2189"/>
            <ac:cxnSpMk id="14" creationId="{14CD9B99-0907-4DB9-B10F-F0E0E658423E}"/>
          </ac:cxnSpMkLst>
        </pc:cxnChg>
        <pc:cxnChg chg="add mod">
          <ac:chgData name="Aurelien Domont" userId="6da7715ce44349b3" providerId="LiveId" clId="{749C0E2C-AAC6-401A-B449-B354DF3FBE4A}" dt="2021-07-09T05:38:53.549" v="618"/>
          <ac:cxnSpMkLst>
            <pc:docMk/>
            <pc:sldMk cId="1002747840" sldId="2189"/>
            <ac:cxnSpMk id="19" creationId="{66B3172C-437D-4E3A-A409-BD3F8E5F11DA}"/>
          </ac:cxnSpMkLst>
        </pc:cxnChg>
        <pc:cxnChg chg="add mod">
          <ac:chgData name="Aurelien Domont" userId="6da7715ce44349b3" providerId="LiveId" clId="{749C0E2C-AAC6-401A-B449-B354DF3FBE4A}" dt="2021-07-09T05:38:53.549" v="618"/>
          <ac:cxnSpMkLst>
            <pc:docMk/>
            <pc:sldMk cId="1002747840" sldId="2189"/>
            <ac:cxnSpMk id="20" creationId="{E13C48DE-0E6F-4FD7-8A42-817BAD8E7791}"/>
          </ac:cxnSpMkLst>
        </pc:cxnChg>
      </pc:sldChg>
      <pc:sldChg chg="addSp delSp modSp mod ord">
        <pc:chgData name="Aurelien Domont" userId="6da7715ce44349b3" providerId="LiveId" clId="{749C0E2C-AAC6-401A-B449-B354DF3FBE4A}" dt="2021-07-09T05:41:59.814" v="639" actId="167"/>
        <pc:sldMkLst>
          <pc:docMk/>
          <pc:sldMk cId="2349979947" sldId="2190"/>
        </pc:sldMkLst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2" creationId="{F4DAF654-340D-4B75-B8E9-38BAB8DB34FD}"/>
          </ac:spMkLst>
        </pc:spChg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3" creationId="{5992F7C2-C90A-496E-BD21-743F05885307}"/>
          </ac:spMkLst>
        </pc:spChg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4" creationId="{045700D2-8228-44CB-B976-038E65CAE418}"/>
          </ac:spMkLst>
        </pc:spChg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5" creationId="{A903233A-54AD-46D4-850C-64259B5EB4D8}"/>
          </ac:spMkLst>
        </pc:spChg>
        <pc:spChg chg="add mod">
          <ac:chgData name="Aurelien Domont" userId="6da7715ce44349b3" providerId="LiveId" clId="{749C0E2C-AAC6-401A-B449-B354DF3FBE4A}" dt="2021-07-09T05:33:21.402" v="563" actId="6549"/>
          <ac:spMkLst>
            <pc:docMk/>
            <pc:sldMk cId="2349979947" sldId="2190"/>
            <ac:spMk id="26" creationId="{737A40FB-4E2D-4A2C-ABF9-F238A234BE37}"/>
          </ac:spMkLst>
        </pc:spChg>
        <pc:spChg chg="add mod">
          <ac:chgData name="Aurelien Domont" userId="6da7715ce44349b3" providerId="LiveId" clId="{749C0E2C-AAC6-401A-B449-B354DF3FBE4A}" dt="2021-07-09T05:36:10.037" v="601"/>
          <ac:spMkLst>
            <pc:docMk/>
            <pc:sldMk cId="2349979947" sldId="2190"/>
            <ac:spMk id="27" creationId="{BDC076F6-22C6-4F66-8368-855A9F230B71}"/>
          </ac:spMkLst>
        </pc:spChg>
        <pc:spChg chg="add mod">
          <ac:chgData name="Aurelien Domont" userId="6da7715ce44349b3" providerId="LiveId" clId="{749C0E2C-AAC6-401A-B449-B354DF3FBE4A}" dt="2021-07-09T05:34:53.272" v="582" actId="20577"/>
          <ac:spMkLst>
            <pc:docMk/>
            <pc:sldMk cId="2349979947" sldId="2190"/>
            <ac:spMk id="28" creationId="{81AD7EC1-CA1E-4E7A-9780-CF93B6334C25}"/>
          </ac:spMkLst>
        </pc:spChg>
        <pc:spChg chg="add mod">
          <ac:chgData name="Aurelien Domont" userId="6da7715ce44349b3" providerId="LiveId" clId="{749C0E2C-AAC6-401A-B449-B354DF3FBE4A}" dt="2021-07-09T05:36:45.858" v="602"/>
          <ac:spMkLst>
            <pc:docMk/>
            <pc:sldMk cId="2349979947" sldId="2190"/>
            <ac:spMk id="29" creationId="{507C27F9-FD70-4D53-B2F3-5066825C0008}"/>
          </ac:spMkLst>
        </pc:sp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2" creationId="{BA3C88A6-896C-4CE6-A82B-7B779BF6136D}"/>
          </ac:picMkLst>
        </pc:pic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3" creationId="{7B4040D5-CCF7-4CD7-A91C-F367BE0521AB}"/>
          </ac:picMkLst>
        </pc:pic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4" creationId="{E21EACEF-DF8D-455F-98E2-B4F596E8268D}"/>
          </ac:picMkLst>
        </pc:pic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11" creationId="{6E845E77-4661-478C-91BE-4F5F582C8AD5}"/>
          </ac:picMkLst>
        </pc:picChg>
        <pc:picChg chg="add del mod">
          <ac:chgData name="Aurelien Domont" userId="6da7715ce44349b3" providerId="LiveId" clId="{749C0E2C-AAC6-401A-B449-B354DF3FBE4A}" dt="2021-07-09T05:37:19.774" v="609" actId="478"/>
          <ac:picMkLst>
            <pc:docMk/>
            <pc:sldMk cId="2349979947" sldId="2190"/>
            <ac:picMk id="18" creationId="{775C1D3D-BB8B-4332-A015-EAF0972E1E39}"/>
          </ac:picMkLst>
        </pc:picChg>
        <pc:picChg chg="add del mod">
          <ac:chgData name="Aurelien Domont" userId="6da7715ce44349b3" providerId="LiveId" clId="{749C0E2C-AAC6-401A-B449-B354DF3FBE4A}" dt="2021-07-09T05:33:27.950" v="565" actId="478"/>
          <ac:picMkLst>
            <pc:docMk/>
            <pc:sldMk cId="2349979947" sldId="2190"/>
            <ac:picMk id="19" creationId="{EE29E786-4E9E-4995-B8A7-ACF6DE2240E3}"/>
          </ac:picMkLst>
        </pc:picChg>
        <pc:picChg chg="add del mod">
          <ac:chgData name="Aurelien Domont" userId="6da7715ce44349b3" providerId="LiveId" clId="{749C0E2C-AAC6-401A-B449-B354DF3FBE4A}" dt="2021-07-09T05:37:20.385" v="610" actId="478"/>
          <ac:picMkLst>
            <pc:docMk/>
            <pc:sldMk cId="2349979947" sldId="2190"/>
            <ac:picMk id="20" creationId="{CBBF09F8-33A0-4056-B61B-0AC23E98E13A}"/>
          </ac:picMkLst>
        </pc:picChg>
        <pc:picChg chg="add del mod">
          <ac:chgData name="Aurelien Domont" userId="6da7715ce44349b3" providerId="LiveId" clId="{749C0E2C-AAC6-401A-B449-B354DF3FBE4A}" dt="2021-07-09T05:37:20.880" v="611" actId="478"/>
          <ac:picMkLst>
            <pc:docMk/>
            <pc:sldMk cId="2349979947" sldId="2190"/>
            <ac:picMk id="21" creationId="{C4730630-2BDF-4F38-AF7C-D89FB793796B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0" creationId="{7BE26EE6-02D0-4299-8D40-D5FE747FC6EC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1" creationId="{01772D02-2A23-4F53-A80C-CFCBAA14DE60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2" creationId="{736A7551-1054-4CFB-A286-4083A79078E0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3" creationId="{3886DD78-4C41-40C9-8DAB-58415E8DB15A}"/>
          </ac:picMkLst>
        </pc:picChg>
        <pc:picChg chg="add del mod">
          <ac:chgData name="Aurelien Domont" userId="6da7715ce44349b3" providerId="LiveId" clId="{749C0E2C-AAC6-401A-B449-B354DF3FBE4A}" dt="2021-07-09T05:34:01.249" v="575" actId="478"/>
          <ac:picMkLst>
            <pc:docMk/>
            <pc:sldMk cId="2349979947" sldId="2190"/>
            <ac:picMk id="34" creationId="{561AFF33-87F3-4846-A18E-D7DF169FA8FA}"/>
          </ac:picMkLst>
        </pc:picChg>
        <pc:picChg chg="add del mod">
          <ac:chgData name="Aurelien Domont" userId="6da7715ce44349b3" providerId="LiveId" clId="{749C0E2C-AAC6-401A-B449-B354DF3FBE4A}" dt="2021-07-09T05:34:00.576" v="574" actId="478"/>
          <ac:picMkLst>
            <pc:docMk/>
            <pc:sldMk cId="2349979947" sldId="2190"/>
            <ac:picMk id="35" creationId="{0DCE2CD3-335B-4D3D-8D2E-D4F1B0CA5F1F}"/>
          </ac:picMkLst>
        </pc:picChg>
      </pc:sldChg>
      <pc:sldChg chg="del">
        <pc:chgData name="Aurelien Domont" userId="6da7715ce44349b3" providerId="LiveId" clId="{749C0E2C-AAC6-401A-B449-B354DF3FBE4A}" dt="2021-07-09T05:49:46" v="723" actId="47"/>
        <pc:sldMkLst>
          <pc:docMk/>
          <pc:sldMk cId="3340324934" sldId="2191"/>
        </pc:sldMkLst>
      </pc:sldChg>
      <pc:sldChg chg="addSp modSp new del mod">
        <pc:chgData name="Aurelien Domont" userId="6da7715ce44349b3" providerId="LiveId" clId="{749C0E2C-AAC6-401A-B449-B354DF3FBE4A}" dt="2021-07-09T05:53:10.418" v="789" actId="47"/>
        <pc:sldMkLst>
          <pc:docMk/>
          <pc:sldMk cId="1756429421" sldId="2192"/>
        </pc:sldMkLst>
        <pc:spChg chg="add mod">
          <ac:chgData name="Aurelien Domont" userId="6da7715ce44349b3" providerId="LiveId" clId="{749C0E2C-AAC6-401A-B449-B354DF3FBE4A}" dt="2021-07-09T04:41:37.365" v="46" actId="13822"/>
          <ac:spMkLst>
            <pc:docMk/>
            <pc:sldMk cId="1756429421" sldId="2192"/>
            <ac:spMk id="3" creationId="{CC977F22-6DCF-4D05-AD2D-3B63CF624FE8}"/>
          </ac:spMkLst>
        </pc:spChg>
      </pc:sldChg>
      <pc:sldChg chg="addSp delSp modSp add mod">
        <pc:chgData name="Aurelien Domont" userId="6da7715ce44349b3" providerId="LiveId" clId="{749C0E2C-AAC6-401A-B449-B354DF3FBE4A}" dt="2021-07-09T04:43:02.669" v="88" actId="20577"/>
        <pc:sldMkLst>
          <pc:docMk/>
          <pc:sldMk cId="3218024908" sldId="2193"/>
        </pc:sldMkLst>
        <pc:spChg chg="del">
          <ac:chgData name="Aurelien Domont" userId="6da7715ce44349b3" providerId="LiveId" clId="{749C0E2C-AAC6-401A-B449-B354DF3FBE4A}" dt="2021-07-09T04:42:36.817" v="83" actId="478"/>
          <ac:spMkLst>
            <pc:docMk/>
            <pc:sldMk cId="3218024908" sldId="2193"/>
            <ac:spMk id="3" creationId="{769F5309-76A5-4DB3-A4CB-2C8F568AB01D}"/>
          </ac:spMkLst>
        </pc:spChg>
        <pc:spChg chg="mod">
          <ac:chgData name="Aurelien Domont" userId="6da7715ce44349b3" providerId="LiveId" clId="{749C0E2C-AAC6-401A-B449-B354DF3FBE4A}" dt="2021-07-09T04:43:02.669" v="88" actId="20577"/>
          <ac:spMkLst>
            <pc:docMk/>
            <pc:sldMk cId="3218024908" sldId="2193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42:36.817" v="83" actId="478"/>
          <ac:spMkLst>
            <pc:docMk/>
            <pc:sldMk cId="3218024908" sldId="2193"/>
            <ac:spMk id="29" creationId="{F1ABDDA1-7406-4A3A-8D68-EEEA79F76892}"/>
          </ac:spMkLst>
        </pc:spChg>
        <pc:spChg chg="del">
          <ac:chgData name="Aurelien Domont" userId="6da7715ce44349b3" providerId="LiveId" clId="{749C0E2C-AAC6-401A-B449-B354DF3FBE4A}" dt="2021-07-09T04:42:37.883" v="84" actId="478"/>
          <ac:spMkLst>
            <pc:docMk/>
            <pc:sldMk cId="3218024908" sldId="2193"/>
            <ac:spMk id="30" creationId="{A3A42F54-587B-4C2E-93F0-14AB9DDD5309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1" creationId="{047F8D27-7EB8-4F11-818A-22805413905B}"/>
          </ac:spMkLst>
        </pc:spChg>
        <pc:spChg chg="del">
          <ac:chgData name="Aurelien Domont" userId="6da7715ce44349b3" providerId="LiveId" clId="{749C0E2C-AAC6-401A-B449-B354DF3FBE4A}" dt="2021-07-09T04:42:36.817" v="83" actId="478"/>
          <ac:spMkLst>
            <pc:docMk/>
            <pc:sldMk cId="3218024908" sldId="2193"/>
            <ac:spMk id="32" creationId="{EE6F0BF2-DC75-49E9-A69A-A91D25E3574E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3" creationId="{AF984234-4413-463B-B984-33E801C8F1CC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4" creationId="{53AF2D87-E787-4026-9A04-CC08C3619B2A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5" creationId="{559EEED1-0DA6-4AC3-B749-C55D459F24E5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6" creationId="{C6DB5B95-30C9-42D9-BAC0-4DBAE6CDBB3E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7" creationId="{EC90D5F1-1294-46A2-9972-D03475C8DD90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8" creationId="{7D2BD487-1738-447A-9C8E-E7E226A621A5}"/>
          </ac:spMkLst>
        </pc:spChg>
        <pc:grpChg chg="del">
          <ac:chgData name="Aurelien Domont" userId="6da7715ce44349b3" providerId="LiveId" clId="{749C0E2C-AAC6-401A-B449-B354DF3FBE4A}" dt="2021-07-09T04:42:36.817" v="83" actId="478"/>
          <ac:grpSpMkLst>
            <pc:docMk/>
            <pc:sldMk cId="3218024908" sldId="2193"/>
            <ac:grpSpMk id="2" creationId="{CA5BE65C-4544-4880-A061-4D320C41F338}"/>
          </ac:grpSpMkLst>
        </pc:grpChg>
      </pc:sldChg>
      <pc:sldChg chg="addSp delSp modSp add mod">
        <pc:chgData name="Aurelien Domont" userId="6da7715ce44349b3" providerId="LiveId" clId="{749C0E2C-AAC6-401A-B449-B354DF3FBE4A}" dt="2021-07-09T04:45:15.674" v="143" actId="20577"/>
        <pc:sldMkLst>
          <pc:docMk/>
          <pc:sldMk cId="2295664870" sldId="2194"/>
        </pc:sldMkLst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2" creationId="{8499D2B2-3130-4460-9993-EE970FF78F18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4" creationId="{CE9D3B02-2083-4C33-9BCD-CBAA65735783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5" creationId="{00691945-F80C-4B30-BE19-966CABC57B1A}"/>
          </ac:spMkLst>
        </pc:spChg>
        <pc:spChg chg="mod">
          <ac:chgData name="Aurelien Domont" userId="6da7715ce44349b3" providerId="LiveId" clId="{749C0E2C-AAC6-401A-B449-B354DF3FBE4A}" dt="2021-07-09T04:45:15.674" v="143" actId="20577"/>
          <ac:spMkLst>
            <pc:docMk/>
            <pc:sldMk cId="2295664870" sldId="2194"/>
            <ac:spMk id="16" creationId="{6C2BB713-9637-4B9B-938F-E9768876782A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7" creationId="{A80B1594-AD60-4F9B-93D9-03676C3D4B6D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8" creationId="{D85C8BB8-1472-4AF3-87D2-366173DB4648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9" creationId="{880C8DF6-1C76-423F-8457-D972FA32A8F0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20" creationId="{8ED978DC-2183-41F7-82BE-8132916BF843}"/>
          </ac:spMkLst>
        </pc:spChg>
        <pc:spChg chg="add del mod">
          <ac:chgData name="Aurelien Domont" userId="6da7715ce44349b3" providerId="LiveId" clId="{749C0E2C-AAC6-401A-B449-B354DF3FBE4A}" dt="2021-07-09T04:45:09.915" v="135"/>
          <ac:spMkLst>
            <pc:docMk/>
            <pc:sldMk cId="2295664870" sldId="2194"/>
            <ac:spMk id="22" creationId="{65BC7272-3272-4AE4-A7BB-B6FE7D5DE863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1" creationId="{047F8D27-7EB8-4F11-818A-22805413905B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3" creationId="{AF984234-4413-463B-B984-33E801C8F1CC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4" creationId="{53AF2D87-E787-4026-9A04-CC08C3619B2A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5" creationId="{559EEED1-0DA6-4AC3-B749-C55D459F24E5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6" creationId="{C6DB5B95-30C9-42D9-BAC0-4DBAE6CDBB3E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7" creationId="{EC90D5F1-1294-46A2-9972-D03475C8DD90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8" creationId="{7D2BD487-1738-447A-9C8E-E7E226A621A5}"/>
          </ac:spMkLst>
        </pc:spChg>
        <pc:graphicFrameChg chg="add del mod">
          <ac:chgData name="Aurelien Domont" userId="6da7715ce44349b3" providerId="LiveId" clId="{749C0E2C-AAC6-401A-B449-B354DF3FBE4A}" dt="2021-07-09T04:45:09.915" v="135"/>
          <ac:graphicFrameMkLst>
            <pc:docMk/>
            <pc:sldMk cId="2295664870" sldId="2194"/>
            <ac:graphicFrameMk id="21" creationId="{168135D0-4C46-43CC-84D6-0CF9BCF1F309}"/>
          </ac:graphicFrameMkLst>
        </pc:graphicFrameChg>
      </pc:sldChg>
      <pc:sldChg chg="addSp delSp modSp add mod">
        <pc:chgData name="Aurelien Domont" userId="6da7715ce44349b3" providerId="LiveId" clId="{749C0E2C-AAC6-401A-B449-B354DF3FBE4A}" dt="2021-07-09T04:46:05.273" v="183"/>
        <pc:sldMkLst>
          <pc:docMk/>
          <pc:sldMk cId="3015462381" sldId="2195"/>
        </pc:sldMkLst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2" creationId="{8499D2B2-3130-4460-9993-EE970FF78F18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4" creationId="{CE9D3B02-2083-4C33-9BCD-CBAA65735783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5" creationId="{00691945-F80C-4B30-BE19-966CABC57B1A}"/>
          </ac:spMkLst>
        </pc:spChg>
        <pc:spChg chg="mod">
          <ac:chgData name="Aurelien Domont" userId="6da7715ce44349b3" providerId="LiveId" clId="{749C0E2C-AAC6-401A-B449-B354DF3FBE4A}" dt="2021-07-09T04:45:57.324" v="181" actId="20577"/>
          <ac:spMkLst>
            <pc:docMk/>
            <pc:sldMk cId="3015462381" sldId="2195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7" creationId="{A80B1594-AD60-4F9B-93D9-03676C3D4B6D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8" creationId="{D85C8BB8-1472-4AF3-87D2-366173DB4648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9" creationId="{880C8DF6-1C76-423F-8457-D972FA32A8F0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20" creationId="{8ED978DC-2183-41F7-82BE-8132916BF843}"/>
          </ac:spMkLst>
        </pc:spChg>
        <pc:spChg chg="add mod">
          <ac:chgData name="Aurelien Domont" userId="6da7715ce44349b3" providerId="LiveId" clId="{749C0E2C-AAC6-401A-B449-B354DF3FBE4A}" dt="2021-07-09T04:46:05.273" v="183"/>
          <ac:spMkLst>
            <pc:docMk/>
            <pc:sldMk cId="3015462381" sldId="2195"/>
            <ac:spMk id="22" creationId="{4539A6B0-D837-467A-AF7C-63F2CB65F06B}"/>
          </ac:spMkLst>
        </pc:spChg>
        <pc:graphicFrameChg chg="add mod">
          <ac:chgData name="Aurelien Domont" userId="6da7715ce44349b3" providerId="LiveId" clId="{749C0E2C-AAC6-401A-B449-B354DF3FBE4A}" dt="2021-07-09T04:46:05.273" v="183"/>
          <ac:graphicFrameMkLst>
            <pc:docMk/>
            <pc:sldMk cId="3015462381" sldId="2195"/>
            <ac:graphicFrameMk id="21" creationId="{2BF59061-6183-4369-B638-33688F9CF05D}"/>
          </ac:graphicFrameMkLst>
        </pc:graphicFrameChg>
      </pc:sldChg>
      <pc:sldChg chg="addSp delSp modSp add mod">
        <pc:chgData name="Aurelien Domont" userId="6da7715ce44349b3" providerId="LiveId" clId="{749C0E2C-AAC6-401A-B449-B354DF3FBE4A}" dt="2021-07-09T07:25:46.990" v="790" actId="20577"/>
        <pc:sldMkLst>
          <pc:docMk/>
          <pc:sldMk cId="1597273171" sldId="2196"/>
        </pc:sldMkLst>
        <pc:spChg chg="add mod">
          <ac:chgData name="Aurelien Domont" userId="6da7715ce44349b3" providerId="LiveId" clId="{749C0E2C-AAC6-401A-B449-B354DF3FBE4A}" dt="2021-07-09T07:25:46.990" v="790" actId="20577"/>
          <ac:spMkLst>
            <pc:docMk/>
            <pc:sldMk cId="1597273171" sldId="2196"/>
            <ac:spMk id="7" creationId="{1E38B12A-61A6-478A-A059-AE822F5D4773}"/>
          </ac:spMkLst>
        </pc:spChg>
        <pc:spChg chg="mod">
          <ac:chgData name="Aurelien Domont" userId="6da7715ce44349b3" providerId="LiveId" clId="{749C0E2C-AAC6-401A-B449-B354DF3FBE4A}" dt="2021-07-09T04:46:36.845" v="210"/>
          <ac:spMkLst>
            <pc:docMk/>
            <pc:sldMk cId="1597273171" sldId="2196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46:47.878" v="211" actId="478"/>
          <ac:spMkLst>
            <pc:docMk/>
            <pc:sldMk cId="1597273171" sldId="2196"/>
            <ac:spMk id="22" creationId="{4539A6B0-D837-467A-AF7C-63F2CB65F06B}"/>
          </ac:spMkLst>
        </pc:spChg>
        <pc:graphicFrameChg chg="add mod">
          <ac:chgData name="Aurelien Domont" userId="6da7715ce44349b3" providerId="LiveId" clId="{749C0E2C-AAC6-401A-B449-B354DF3FBE4A}" dt="2021-07-09T04:46:55.810" v="213"/>
          <ac:graphicFrameMkLst>
            <pc:docMk/>
            <pc:sldMk cId="1597273171" sldId="2196"/>
            <ac:graphicFrameMk id="8" creationId="{D0E37087-7389-49E9-AC77-1C709EEEAA6D}"/>
          </ac:graphicFrameMkLst>
        </pc:graphicFrameChg>
        <pc:graphicFrameChg chg="del">
          <ac:chgData name="Aurelien Domont" userId="6da7715ce44349b3" providerId="LiveId" clId="{749C0E2C-AAC6-401A-B449-B354DF3FBE4A}" dt="2021-07-09T04:46:52.333" v="212" actId="478"/>
          <ac:graphicFrameMkLst>
            <pc:docMk/>
            <pc:sldMk cId="1597273171" sldId="2196"/>
            <ac:graphicFrameMk id="21" creationId="{2BF59061-6183-4369-B638-33688F9CF05D}"/>
          </ac:graphicFrameMkLst>
        </pc:graphicFrameChg>
      </pc:sldChg>
      <pc:sldChg chg="modSp add mod">
        <pc:chgData name="Aurelien Domont" userId="6da7715ce44349b3" providerId="LiveId" clId="{749C0E2C-AAC6-401A-B449-B354DF3FBE4A}" dt="2021-07-09T04:58:10.256" v="268" actId="20577"/>
        <pc:sldMkLst>
          <pc:docMk/>
          <pc:sldMk cId="2560255870" sldId="2197"/>
        </pc:sldMkLst>
        <pc:spChg chg="mod">
          <ac:chgData name="Aurelien Domont" userId="6da7715ce44349b3" providerId="LiveId" clId="{749C0E2C-AAC6-401A-B449-B354DF3FBE4A}" dt="2021-07-09T04:58:10.256" v="268" actId="20577"/>
          <ac:spMkLst>
            <pc:docMk/>
            <pc:sldMk cId="2560255870" sldId="2197"/>
            <ac:spMk id="16" creationId="{6C2BB713-9637-4B9B-938F-E9768876782A}"/>
          </ac:spMkLst>
        </pc:spChg>
        <pc:spChg chg="mod">
          <ac:chgData name="Aurelien Domont" userId="6da7715ce44349b3" providerId="LiveId" clId="{749C0E2C-AAC6-401A-B449-B354DF3FBE4A}" dt="2021-07-09T04:51:00.121" v="256"/>
          <ac:spMkLst>
            <pc:docMk/>
            <pc:sldMk cId="2560255870" sldId="2197"/>
            <ac:spMk id="31" creationId="{80DB5C2A-CB4E-438A-8801-EB0869040D7B}"/>
          </ac:spMkLst>
        </pc:spChg>
      </pc:sldChg>
      <pc:sldChg chg="addSp delSp modSp add mod">
        <pc:chgData name="Aurelien Domont" userId="6da7715ce44349b3" providerId="LiveId" clId="{749C0E2C-AAC6-401A-B449-B354DF3FBE4A}" dt="2021-07-09T04:57:33.239" v="261"/>
        <pc:sldMkLst>
          <pc:docMk/>
          <pc:sldMk cId="344576478" sldId="2198"/>
        </pc:sldMkLst>
        <pc:spChg chg="add mod">
          <ac:chgData name="Aurelien Domont" userId="6da7715ce44349b3" providerId="LiveId" clId="{749C0E2C-AAC6-401A-B449-B354DF3FBE4A}" dt="2021-07-09T04:57:33.239" v="261"/>
          <ac:spMkLst>
            <pc:docMk/>
            <pc:sldMk cId="344576478" sldId="2198"/>
            <ac:spMk id="6" creationId="{30028A21-6B64-4F0F-A2C9-A9779A18EEFC}"/>
          </ac:spMkLst>
        </pc:spChg>
        <pc:spChg chg="mod">
          <ac:chgData name="Aurelien Domont" userId="6da7715ce44349b3" providerId="LiveId" clId="{749C0E2C-AAC6-401A-B449-B354DF3FBE4A}" dt="2021-07-09T04:52:43.269" v="259"/>
          <ac:spMkLst>
            <pc:docMk/>
            <pc:sldMk cId="344576478" sldId="2198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57:32.837" v="260" actId="478"/>
          <ac:spMkLst>
            <pc:docMk/>
            <pc:sldMk cId="344576478" sldId="2198"/>
            <ac:spMk id="34" creationId="{2B936149-E2A6-4141-A333-C5E1855245B1}"/>
          </ac:spMkLst>
        </pc:spChg>
      </pc:sldChg>
      <pc:sldChg chg="addSp delSp modSp add mod">
        <pc:chgData name="Aurelien Domont" userId="6da7715ce44349b3" providerId="LiveId" clId="{749C0E2C-AAC6-401A-B449-B354DF3FBE4A}" dt="2021-07-09T05:49:26.206" v="722" actId="478"/>
        <pc:sldMkLst>
          <pc:docMk/>
          <pc:sldMk cId="3652554031" sldId="2199"/>
        </pc:sldMkLst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1" creationId="{75061E4F-FB3F-4F06-9960-64F132A3A8D1}"/>
          </ac:spMkLst>
        </pc:spChg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2" creationId="{BE5FBC9B-6CEF-4DA9-9F52-9FA051FC5284}"/>
          </ac:spMkLst>
        </pc:spChg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3" creationId="{F4285113-78D1-43EE-BCA0-447610636AE3}"/>
          </ac:spMkLst>
        </pc:spChg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4" creationId="{E8D393BA-0F9C-45C6-9A09-6B2652E3655F}"/>
          </ac:spMkLst>
        </pc:spChg>
        <pc:spChg chg="add mod">
          <ac:chgData name="Aurelien Domont" userId="6da7715ce44349b3" providerId="LiveId" clId="{749C0E2C-AAC6-401A-B449-B354DF3FBE4A}" dt="2021-07-09T05:41:52.163" v="638" actId="20577"/>
          <ac:spMkLst>
            <pc:docMk/>
            <pc:sldMk cId="3652554031" sldId="2199"/>
            <ac:spMk id="30" creationId="{4885690A-AC95-47AE-9E4D-54E6CFB8A134}"/>
          </ac:spMkLst>
        </pc:spChg>
        <pc:spChg chg="add mod">
          <ac:chgData name="Aurelien Domont" userId="6da7715ce44349b3" providerId="LiveId" clId="{749C0E2C-AAC6-401A-B449-B354DF3FBE4A}" dt="2021-07-09T05:45:08.663" v="672"/>
          <ac:spMkLst>
            <pc:docMk/>
            <pc:sldMk cId="3652554031" sldId="2199"/>
            <ac:spMk id="31" creationId="{435C94AD-0B68-4832-A843-416A63C68A22}"/>
          </ac:spMkLst>
        </pc:spChg>
        <pc:spChg chg="add mod">
          <ac:chgData name="Aurelien Domont" userId="6da7715ce44349b3" providerId="LiveId" clId="{749C0E2C-AAC6-401A-B449-B354DF3FBE4A}" dt="2021-07-09T05:42:34.609" v="668" actId="20577"/>
          <ac:spMkLst>
            <pc:docMk/>
            <pc:sldMk cId="3652554031" sldId="2199"/>
            <ac:spMk id="32" creationId="{6F942A0B-2108-4F94-A75C-D0472EB4899B}"/>
          </ac:spMkLst>
        </pc:spChg>
        <pc:spChg chg="add mod">
          <ac:chgData name="Aurelien Domont" userId="6da7715ce44349b3" providerId="LiveId" clId="{749C0E2C-AAC6-401A-B449-B354DF3FBE4A}" dt="2021-07-09T05:48:57.878" v="713" actId="20577"/>
          <ac:spMkLst>
            <pc:docMk/>
            <pc:sldMk cId="3652554031" sldId="2199"/>
            <ac:spMk id="33" creationId="{71FCAAB3-5BCA-4205-AB39-3917F35BE863}"/>
          </ac:spMkLst>
        </pc:sp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2" creationId="{A2E60B84-1B13-48B1-81E5-8E296DEEBBE7}"/>
          </ac:picMkLst>
        </pc:pic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3" creationId="{1386EF7C-88B2-48DB-8264-9EB7535FA945}"/>
          </ac:picMkLst>
        </pc:pic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4" creationId="{619E6FAA-89AE-43EE-B559-A7975B679097}"/>
          </ac:picMkLst>
        </pc:picChg>
        <pc:picChg chg="add del mod ord">
          <ac:chgData name="Aurelien Domont" userId="6da7715ce44349b3" providerId="LiveId" clId="{749C0E2C-AAC6-401A-B449-B354DF3FBE4A}" dt="2021-07-09T05:49:26.206" v="722" actId="478"/>
          <ac:picMkLst>
            <pc:docMk/>
            <pc:sldMk cId="3652554031" sldId="2199"/>
            <ac:picMk id="12" creationId="{923336D9-44E9-4F1F-8390-2E1687B864E8}"/>
          </ac:picMkLst>
        </pc:pic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14" creationId="{9EB20BB5-DC1E-404F-AAB3-36A1D4DF94D7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18" creationId="{53DB1D7B-D9FC-4015-A470-27FEBC2DE76A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19" creationId="{3AAD19FF-A19A-4E76-ADBF-7C2DBD75B20A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20" creationId="{C647593F-9FCC-4E10-AC88-B14CC1EB745F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5" creationId="{991C0F3F-DC96-4D75-A8E5-1828A799E29D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6" creationId="{6AAE44A4-591A-4C94-9FB2-433CDDFA6C03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7" creationId="{4C96D69A-8109-4F2B-8848-F0AC20DB52D1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8" creationId="{EDB39F5E-6638-42AD-AAA7-9ED4C622426E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29" creationId="{7581400D-D73B-430E-BF20-66E78EA9B7AB}"/>
          </ac:picMkLst>
        </pc:picChg>
      </pc:sldChg>
      <pc:sldChg chg="add">
        <pc:chgData name="Aurelien Domont" userId="6da7715ce44349b3" providerId="LiveId" clId="{749C0E2C-AAC6-401A-B449-B354DF3FBE4A}" dt="2021-07-12T01:43:13.816" v="801"/>
        <pc:sldMkLst>
          <pc:docMk/>
          <pc:sldMk cId="2272097788" sldId="2200"/>
        </pc:sldMkLst>
      </pc:sldChg>
      <pc:sldChg chg="addSp delSp modSp add del mod">
        <pc:chgData name="Aurelien Domont" userId="6da7715ce44349b3" providerId="LiveId" clId="{749C0E2C-AAC6-401A-B449-B354DF3FBE4A}" dt="2021-07-13T06:13:35.666" v="820" actId="47"/>
        <pc:sldMkLst>
          <pc:docMk/>
          <pc:sldMk cId="2053330513" sldId="2201"/>
        </pc:sldMkLst>
        <pc:picChg chg="del mod">
          <ac:chgData name="Aurelien Domont" userId="6da7715ce44349b3" providerId="LiveId" clId="{749C0E2C-AAC6-401A-B449-B354DF3FBE4A}" dt="2021-07-13T06:13:30.016" v="817" actId="478"/>
          <ac:picMkLst>
            <pc:docMk/>
            <pc:sldMk cId="2053330513" sldId="2201"/>
            <ac:picMk id="3" creationId="{A54122EC-30D0-4B37-B927-28A8357B1859}"/>
          </ac:picMkLst>
        </pc:picChg>
        <pc:picChg chg="add del mod">
          <ac:chgData name="Aurelien Domont" userId="6da7715ce44349b3" providerId="LiveId" clId="{749C0E2C-AAC6-401A-B449-B354DF3FBE4A}" dt="2021-07-13T06:13:30.494" v="818" actId="478"/>
          <ac:picMkLst>
            <pc:docMk/>
            <pc:sldMk cId="2053330513" sldId="2201"/>
            <ac:picMk id="13" creationId="{C329E6D4-BC63-4876-AC23-771945693AC9}"/>
          </ac:picMkLst>
        </pc:picChg>
      </pc:sldChg>
    </pc:docChg>
  </pc:docChgLst>
  <pc:docChgLst>
    <pc:chgData name="Aurelien Domont" userId="6da7715ce44349b3" providerId="LiveId" clId="{B4FD918D-C106-4A60-B12E-CEF59405A842}"/>
    <pc:docChg chg="custSel modSld">
      <pc:chgData name="Aurelien Domont" userId="6da7715ce44349b3" providerId="LiveId" clId="{B4FD918D-C106-4A60-B12E-CEF59405A842}" dt="2022-10-20T02:34:03.477" v="48" actId="20577"/>
      <pc:docMkLst>
        <pc:docMk/>
      </pc:docMkLst>
      <pc:sldChg chg="addSp delSp modSp mod">
        <pc:chgData name="Aurelien Domont" userId="6da7715ce44349b3" providerId="LiveId" clId="{B4FD918D-C106-4A60-B12E-CEF59405A842}" dt="2022-10-20T02:34:03.477" v="48" actId="20577"/>
        <pc:sldMkLst>
          <pc:docMk/>
          <pc:sldMk cId="3615428360" sldId="2196"/>
        </pc:sldMkLst>
        <pc:spChg chg="mod">
          <ac:chgData name="Aurelien Domont" userId="6da7715ce44349b3" providerId="LiveId" clId="{B4FD918D-C106-4A60-B12E-CEF59405A842}" dt="2022-10-20T02:27:21.322" v="1" actId="20577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B4FD918D-C106-4A60-B12E-CEF59405A842}" dt="2022-10-20T02:34:03.477" v="48" actId="20577"/>
          <ac:spMkLst>
            <pc:docMk/>
            <pc:sldMk cId="3615428360" sldId="2196"/>
            <ac:spMk id="16" creationId="{6C2BB713-9637-4B9B-938F-E9768876782A}"/>
          </ac:spMkLst>
        </pc:spChg>
        <pc:picChg chg="del">
          <ac:chgData name="Aurelien Domont" userId="6da7715ce44349b3" providerId="LiveId" clId="{B4FD918D-C106-4A60-B12E-CEF59405A842}" dt="2022-10-20T02:27:31.287" v="2" actId="478"/>
          <ac:picMkLst>
            <pc:docMk/>
            <pc:sldMk cId="3615428360" sldId="2196"/>
            <ac:picMk id="3" creationId="{34F7BBA2-741D-6E87-B036-EB6BEB551C34}"/>
          </ac:picMkLst>
        </pc:picChg>
        <pc:picChg chg="add del mod">
          <ac:chgData name="Aurelien Domont" userId="6da7715ce44349b3" providerId="LiveId" clId="{B4FD918D-C106-4A60-B12E-CEF59405A842}" dt="2022-10-20T02:32:30.293" v="8" actId="478"/>
          <ac:picMkLst>
            <pc:docMk/>
            <pc:sldMk cId="3615428360" sldId="2196"/>
            <ac:picMk id="4" creationId="{D8795B6F-42F3-8671-63F5-DA21623CDCDC}"/>
          </ac:picMkLst>
        </pc:picChg>
        <pc:picChg chg="add del">
          <ac:chgData name="Aurelien Domont" userId="6da7715ce44349b3" providerId="LiveId" clId="{B4FD918D-C106-4A60-B12E-CEF59405A842}" dt="2022-10-20T02:32:48.475" v="10" actId="478"/>
          <ac:picMkLst>
            <pc:docMk/>
            <pc:sldMk cId="3615428360" sldId="2196"/>
            <ac:picMk id="8" creationId="{09D23ED1-21FC-8353-3952-90D1470AC56E}"/>
          </ac:picMkLst>
        </pc:picChg>
        <pc:picChg chg="add mod">
          <ac:chgData name="Aurelien Domont" userId="6da7715ce44349b3" providerId="LiveId" clId="{B4FD918D-C106-4A60-B12E-CEF59405A842}" dt="2022-10-20T02:33:25.490" v="19"/>
          <ac:picMkLst>
            <pc:docMk/>
            <pc:sldMk cId="3615428360" sldId="2196"/>
            <ac:picMk id="10" creationId="{ACAF5940-CF8F-C069-6103-8D28CAAF05A0}"/>
          </ac:picMkLst>
        </pc:picChg>
      </pc:sldChg>
    </pc:docChg>
  </pc:docChgLst>
  <pc:docChgLst>
    <pc:chgData name="Aurelien Domont" userId="6da7715ce44349b3" providerId="LiveId" clId="{673D5AF3-7F98-4E18-80CE-01CD6ED7BC9D}"/>
    <pc:docChg chg="addSld delSld modSld">
      <pc:chgData name="Aurelien Domont" userId="6da7715ce44349b3" providerId="LiveId" clId="{673D5AF3-7F98-4E18-80CE-01CD6ED7BC9D}" dt="2021-04-21T04:24:27.041" v="1" actId="47"/>
      <pc:docMkLst>
        <pc:docMk/>
      </pc:docMkLst>
      <pc:sldChg chg="del">
        <pc:chgData name="Aurelien Domont" userId="6da7715ce44349b3" providerId="LiveId" clId="{673D5AF3-7F98-4E18-80CE-01CD6ED7BC9D}" dt="2021-04-21T04:24:27.041" v="1" actId="47"/>
        <pc:sldMkLst>
          <pc:docMk/>
          <pc:sldMk cId="3464255004" sldId="1693"/>
        </pc:sldMkLst>
      </pc:sldChg>
      <pc:sldChg chg="del">
        <pc:chgData name="Aurelien Domont" userId="6da7715ce44349b3" providerId="LiveId" clId="{673D5AF3-7F98-4E18-80CE-01CD6ED7BC9D}" dt="2021-04-21T04:24:27.041" v="1" actId="47"/>
        <pc:sldMkLst>
          <pc:docMk/>
          <pc:sldMk cId="81176075" sldId="2009"/>
        </pc:sldMkLst>
      </pc:sldChg>
      <pc:sldChg chg="add">
        <pc:chgData name="Aurelien Domont" userId="6da7715ce44349b3" providerId="LiveId" clId="{673D5AF3-7F98-4E18-80CE-01CD6ED7BC9D}" dt="2021-04-21T04:23:54.021" v="0"/>
        <pc:sldMkLst>
          <pc:docMk/>
          <pc:sldMk cId="1151893028" sldId="2029"/>
        </pc:sldMkLst>
      </pc:sldChg>
    </pc:docChg>
  </pc:docChgLst>
  <pc:docChgLst>
    <pc:chgData name="Aurelien Domont" userId="6da7715ce44349b3" providerId="LiveId" clId="{9DB28F03-1A25-4A4E-9946-97135BA1FDC9}"/>
    <pc:docChg chg="undo custSel addSld delSld modSld">
      <pc:chgData name="Aurelien Domont" userId="6da7715ce44349b3" providerId="LiveId" clId="{9DB28F03-1A25-4A4E-9946-97135BA1FDC9}" dt="2021-05-12T07:03:12.756" v="23" actId="20577"/>
      <pc:docMkLst>
        <pc:docMk/>
      </pc:docMkLst>
      <pc:sldChg chg="addSp delSp modSp add del mod">
        <pc:chgData name="Aurelien Domont" userId="6da7715ce44349b3" providerId="LiveId" clId="{9DB28F03-1A25-4A4E-9946-97135BA1FDC9}" dt="2021-05-12T07:03:12.756" v="23" actId="20577"/>
        <pc:sldMkLst>
          <pc:docMk/>
          <pc:sldMk cId="1659127470" sldId="1924"/>
        </pc:sldMkLst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14" creationId="{493F826D-CCF6-440C-BFA4-C3799A3ED755}"/>
          </ac:spMkLst>
        </pc:spChg>
        <pc:spChg chg="add del mod">
          <ac:chgData name="Aurelien Domont" userId="6da7715ce44349b3" providerId="LiveId" clId="{9DB28F03-1A25-4A4E-9946-97135BA1FDC9}" dt="2021-05-12T07:02:43.931" v="16" actId="478"/>
          <ac:spMkLst>
            <pc:docMk/>
            <pc:sldMk cId="1659127470" sldId="1924"/>
            <ac:spMk id="15" creationId="{8492F43E-A244-4187-9CD1-2A383862A364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17" creationId="{469F466A-B940-41E3-B12F-110D72502BCE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18" creationId="{0BCD4164-FFCE-447D-8269-E5891A7FEF0D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19" creationId="{554EE1B4-E11D-4B37-9F78-B5B5FA8738AA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20" creationId="{3A4E6A8C-908C-49FF-9BF8-90A9FC12224D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21" creationId="{16FAC062-BB56-4A49-9044-4444E78429DF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24" creationId="{95714746-22CF-48C5-AD51-9D9AE6E5F2C8}"/>
          </ac:spMkLst>
        </pc:spChg>
        <pc:spChg chg="add mod">
          <ac:chgData name="Aurelien Domont" userId="6da7715ce44349b3" providerId="LiveId" clId="{9DB28F03-1A25-4A4E-9946-97135BA1FDC9}" dt="2021-05-12T07:03:12.756" v="23" actId="20577"/>
          <ac:spMkLst>
            <pc:docMk/>
            <pc:sldMk cId="1659127470" sldId="1924"/>
            <ac:spMk id="25" creationId="{0B462317-12E0-4745-AFEC-1DF156C5EB17}"/>
          </ac:spMkLst>
        </pc:spChg>
        <pc:spChg chg="add del mod">
          <ac:chgData name="Aurelien Domont" userId="6da7715ce44349b3" providerId="LiveId" clId="{9DB28F03-1A25-4A4E-9946-97135BA1FDC9}" dt="2021-05-12T07:02:51.744" v="19" actId="478"/>
          <ac:spMkLst>
            <pc:docMk/>
            <pc:sldMk cId="1659127470" sldId="1924"/>
            <ac:spMk id="26" creationId="{8207AE42-440E-461F-9002-F8171C2B0FB7}"/>
          </ac:spMkLst>
        </pc:spChg>
        <pc:spChg chg="add del mod">
          <ac:chgData name="Aurelien Domont" userId="6da7715ce44349b3" providerId="LiveId" clId="{9DB28F03-1A25-4A4E-9946-97135BA1FDC9}" dt="2021-05-12T07:02:52.643" v="20" actId="478"/>
          <ac:spMkLst>
            <pc:docMk/>
            <pc:sldMk cId="1659127470" sldId="1924"/>
            <ac:spMk id="27" creationId="{7874958D-3681-4FEB-AF57-767FF2BE43F8}"/>
          </ac:spMkLst>
        </pc:spChg>
        <pc:spChg chg="add del mod">
          <ac:chgData name="Aurelien Domont" userId="6da7715ce44349b3" providerId="LiveId" clId="{9DB28F03-1A25-4A4E-9946-97135BA1FDC9}" dt="2021-05-12T07:02:46.824" v="18" actId="478"/>
          <ac:spMkLst>
            <pc:docMk/>
            <pc:sldMk cId="1659127470" sldId="1924"/>
            <ac:spMk id="28" creationId="{46F541B2-19A4-48FE-BC36-F95AB3359448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34" creationId="{E2BDE0B8-90AF-4DE7-A71B-FE78ADE30B55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35" creationId="{1BC3B263-81C3-42AD-96C7-45AB7FFD0557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36" creationId="{DEACEA99-9E9A-408A-9277-86EFC1C60A69}"/>
          </ac:spMkLst>
        </pc:spChg>
        <pc:cxnChg chg="del">
          <ac:chgData name="Aurelien Domont" userId="6da7715ce44349b3" providerId="LiveId" clId="{9DB28F03-1A25-4A4E-9946-97135BA1FDC9}" dt="2021-05-12T07:02:36.244" v="14" actId="478"/>
          <ac:cxnSpMkLst>
            <pc:docMk/>
            <pc:sldMk cId="1659127470" sldId="1924"/>
            <ac:cxnSpMk id="6" creationId="{91E4FFAB-FF4F-40BB-B034-751A14BFD071}"/>
          </ac:cxnSpMkLst>
        </pc:cxnChg>
        <pc:cxnChg chg="add mod">
          <ac:chgData name="Aurelien Domont" userId="6da7715ce44349b3" providerId="LiveId" clId="{9DB28F03-1A25-4A4E-9946-97135BA1FDC9}" dt="2021-05-12T07:02:40.961" v="15"/>
          <ac:cxnSpMkLst>
            <pc:docMk/>
            <pc:sldMk cId="1659127470" sldId="1924"/>
            <ac:cxnSpMk id="22" creationId="{8F214CF9-01D2-40DC-9D6F-DAC675E238D0}"/>
          </ac:cxnSpMkLst>
        </pc:cxnChg>
        <pc:cxnChg chg="add mod">
          <ac:chgData name="Aurelien Domont" userId="6da7715ce44349b3" providerId="LiveId" clId="{9DB28F03-1A25-4A4E-9946-97135BA1FDC9}" dt="2021-05-12T07:02:40.961" v="15"/>
          <ac:cxnSpMkLst>
            <pc:docMk/>
            <pc:sldMk cId="1659127470" sldId="1924"/>
            <ac:cxnSpMk id="23" creationId="{919B0EFB-7619-4E1E-BC50-B4C9AA07AF7A}"/>
          </ac:cxnSpMkLst>
        </pc:cxnChg>
        <pc:cxnChg chg="del">
          <ac:chgData name="Aurelien Domont" userId="6da7715ce44349b3" providerId="LiveId" clId="{9DB28F03-1A25-4A4E-9946-97135BA1FDC9}" dt="2021-05-12T07:02:36.244" v="14" actId="478"/>
          <ac:cxnSpMkLst>
            <pc:docMk/>
            <pc:sldMk cId="1659127470" sldId="1924"/>
            <ac:cxnSpMk id="33" creationId="{3B31C624-A379-4A7C-8695-3B2B901C5E36}"/>
          </ac:cxnSpMkLst>
        </pc:cxnChg>
      </pc:sldChg>
      <pc:sldChg chg="addSp delSp modSp add del mod">
        <pc:chgData name="Aurelien Domont" userId="6da7715ce44349b3" providerId="LiveId" clId="{9DB28F03-1A25-4A4E-9946-97135BA1FDC9}" dt="2021-05-12T07:02:31.884" v="13"/>
        <pc:sldMkLst>
          <pc:docMk/>
          <pc:sldMk cId="2780470134" sldId="2169"/>
        </pc:sldMkLst>
        <pc:spChg chg="add del">
          <ac:chgData name="Aurelien Domont" userId="6da7715ce44349b3" providerId="LiveId" clId="{9DB28F03-1A25-4A4E-9946-97135BA1FDC9}" dt="2021-05-12T07:02:27.560" v="11" actId="478"/>
          <ac:spMkLst>
            <pc:docMk/>
            <pc:sldMk cId="2780470134" sldId="2169"/>
            <ac:spMk id="4" creationId="{D1930ED8-C851-405B-901E-2CC967E63EEB}"/>
          </ac:spMkLst>
        </pc:spChg>
        <pc:spChg chg="add del">
          <ac:chgData name="Aurelien Domont" userId="6da7715ce44349b3" providerId="LiveId" clId="{9DB28F03-1A25-4A4E-9946-97135BA1FDC9}" dt="2021-05-12T07:02:27.560" v="11" actId="478"/>
          <ac:spMkLst>
            <pc:docMk/>
            <pc:sldMk cId="2780470134" sldId="2169"/>
            <ac:spMk id="15" creationId="{A49EC62A-DF00-4CF2-94E8-C5D0BE35FC0B}"/>
          </ac:spMkLst>
        </pc:spChg>
        <pc:spChg chg="add del mod">
          <ac:chgData name="Aurelien Domont" userId="6da7715ce44349b3" providerId="LiveId" clId="{9DB28F03-1A25-4A4E-9946-97135BA1FDC9}" dt="2021-05-12T07:02:27.277" v="10" actId="1076"/>
          <ac:spMkLst>
            <pc:docMk/>
            <pc:sldMk cId="2780470134" sldId="2169"/>
            <ac:spMk id="17" creationId="{3B83C0B2-844F-4168-BE85-BA50DF2BED24}"/>
          </ac:spMkLst>
        </pc:spChg>
        <pc:spChg chg="add del">
          <ac:chgData name="Aurelien Domont" userId="6da7715ce44349b3" providerId="LiveId" clId="{9DB28F03-1A25-4A4E-9946-97135BA1FDC9}" dt="2021-05-12T07:02:15.133" v="6" actId="478"/>
          <ac:spMkLst>
            <pc:docMk/>
            <pc:sldMk cId="2780470134" sldId="2169"/>
            <ac:spMk id="35" creationId="{1BC3B263-81C3-42AD-96C7-45AB7FFD0557}"/>
          </ac:spMkLst>
        </pc:spChg>
      </pc:sldChg>
    </pc:docChg>
  </pc:docChgLst>
  <pc:docChgLst>
    <pc:chgData name="Aurelien Domont" userId="6da7715ce44349b3" providerId="LiveId" clId="{E6277905-FCCE-4B88-BAD6-C5854D60B696}"/>
    <pc:docChg chg="undo redo custSel addSld delSld modSld">
      <pc:chgData name="Aurelien Domont" userId="6da7715ce44349b3" providerId="LiveId" clId="{E6277905-FCCE-4B88-BAD6-C5854D60B696}" dt="2021-05-27T01:27:06.051" v="1819" actId="20577"/>
      <pc:docMkLst>
        <pc:docMk/>
      </pc:docMkLst>
      <pc:sldChg chg="addSp delSp modSp mod">
        <pc:chgData name="Aurelien Domont" userId="6da7715ce44349b3" providerId="LiveId" clId="{E6277905-FCCE-4B88-BAD6-C5854D60B696}" dt="2021-05-26T08:17:58.329" v="1789"/>
        <pc:sldMkLst>
          <pc:docMk/>
          <pc:sldMk cId="3131901387" sldId="256"/>
        </pc:sldMkLst>
        <pc:spChg chg="mod">
          <ac:chgData name="Aurelien Domont" userId="6da7715ce44349b3" providerId="LiveId" clId="{E6277905-FCCE-4B88-BAD6-C5854D60B696}" dt="2021-05-18T05:40:48.610" v="19" actId="20577"/>
          <ac:spMkLst>
            <pc:docMk/>
            <pc:sldMk cId="3131901387" sldId="256"/>
            <ac:spMk id="2" creationId="{5261080C-C60C-4746-B6B1-A9A4FFA86785}"/>
          </ac:spMkLst>
        </pc:spChg>
        <pc:spChg chg="del">
          <ac:chgData name="Aurelien Domont" userId="6da7715ce44349b3" providerId="LiveId" clId="{E6277905-FCCE-4B88-BAD6-C5854D60B696}" dt="2021-05-26T08:17:54.457" v="1785" actId="478"/>
          <ac:spMkLst>
            <pc:docMk/>
            <pc:sldMk cId="3131901387" sldId="256"/>
            <ac:spMk id="3" creationId="{D781CD62-85AB-400E-A66C-9594AAD807B4}"/>
          </ac:spMkLst>
        </pc:spChg>
        <pc:spChg chg="add del mod">
          <ac:chgData name="Aurelien Domont" userId="6da7715ce44349b3" providerId="LiveId" clId="{E6277905-FCCE-4B88-BAD6-C5854D60B696}" dt="2021-05-26T08:17:58.130" v="1788" actId="478"/>
          <ac:spMkLst>
            <pc:docMk/>
            <pc:sldMk cId="3131901387" sldId="256"/>
            <ac:spMk id="13" creationId="{E68CF082-1C0C-4C11-B13F-09DA90F94204}"/>
          </ac:spMkLst>
        </pc:spChg>
        <pc:spChg chg="add del mod">
          <ac:chgData name="Aurelien Domont" userId="6da7715ce44349b3" providerId="LiveId" clId="{E6277905-FCCE-4B88-BAD6-C5854D60B696}" dt="2021-05-26T08:17:55.811" v="1787"/>
          <ac:spMkLst>
            <pc:docMk/>
            <pc:sldMk cId="3131901387" sldId="256"/>
            <ac:spMk id="15" creationId="{DD548747-1142-4189-A48E-B3F4AF3517AD}"/>
          </ac:spMkLst>
        </pc:spChg>
        <pc:spChg chg="add mod">
          <ac:chgData name="Aurelien Domont" userId="6da7715ce44349b3" providerId="LiveId" clId="{E6277905-FCCE-4B88-BAD6-C5854D60B696}" dt="2021-05-26T08:17:58.329" v="1789"/>
          <ac:spMkLst>
            <pc:docMk/>
            <pc:sldMk cId="3131901387" sldId="256"/>
            <ac:spMk id="16" creationId="{2436D48A-FAB5-4E4C-AB97-233E7A3795E6}"/>
          </ac:spMkLst>
        </pc:spChg>
        <pc:picChg chg="add del">
          <ac:chgData name="Aurelien Domont" userId="6da7715ce44349b3" providerId="LiveId" clId="{E6277905-FCCE-4B88-BAD6-C5854D60B696}" dt="2021-05-19T07:00:28.700" v="1158" actId="478"/>
          <ac:picMkLst>
            <pc:docMk/>
            <pc:sldMk cId="3131901387" sldId="256"/>
            <ac:picMk id="13" creationId="{6E38BFE1-56A4-4E55-BEE6-88950EB7A801}"/>
          </ac:picMkLst>
        </pc:picChg>
        <pc:picChg chg="add del mod">
          <ac:chgData name="Aurelien Domont" userId="6da7715ce44349b3" providerId="LiveId" clId="{E6277905-FCCE-4B88-BAD6-C5854D60B696}" dt="2021-05-26T08:17:54.457" v="1785" actId="478"/>
          <ac:picMkLst>
            <pc:docMk/>
            <pc:sldMk cId="3131901387" sldId="256"/>
            <ac:picMk id="14" creationId="{2383877E-1EA1-4685-809A-0E7CCC5CBDD3}"/>
          </ac:picMkLst>
        </pc:picChg>
      </pc:sldChg>
      <pc:sldChg chg="addSp delSp modSp mod">
        <pc:chgData name="Aurelien Domont" userId="6da7715ce44349b3" providerId="LiveId" clId="{E6277905-FCCE-4B88-BAD6-C5854D60B696}" dt="2021-05-19T07:14:32.307" v="1757" actId="20577"/>
        <pc:sldMkLst>
          <pc:docMk/>
          <pc:sldMk cId="317099162" sldId="1749"/>
        </pc:sldMkLst>
        <pc:spChg chg="add del mod">
          <ac:chgData name="Aurelien Domont" userId="6da7715ce44349b3" providerId="LiveId" clId="{E6277905-FCCE-4B88-BAD6-C5854D60B696}" dt="2021-05-19T07:02:22.898" v="1169" actId="478"/>
          <ac:spMkLst>
            <pc:docMk/>
            <pc:sldMk cId="317099162" sldId="1749"/>
            <ac:spMk id="2" creationId="{254960E3-64BC-4278-8123-6086DEE61BF9}"/>
          </ac:spMkLst>
        </pc:spChg>
        <pc:spChg chg="mod">
          <ac:chgData name="Aurelien Domont" userId="6da7715ce44349b3" providerId="LiveId" clId="{E6277905-FCCE-4B88-BAD6-C5854D60B696}" dt="2021-05-19T07:14:32.307" v="1757" actId="20577"/>
          <ac:spMkLst>
            <pc:docMk/>
            <pc:sldMk cId="317099162" sldId="1749"/>
            <ac:spMk id="14" creationId="{58BC295C-D6CC-4682-B176-A5677EB177D0}"/>
          </ac:spMkLst>
        </pc:spChg>
        <pc:spChg chg="mod">
          <ac:chgData name="Aurelien Domont" userId="6da7715ce44349b3" providerId="LiveId" clId="{E6277905-FCCE-4B88-BAD6-C5854D60B696}" dt="2021-05-19T07:02:48.675" v="1177" actId="20577"/>
          <ac:spMkLst>
            <pc:docMk/>
            <pc:sldMk cId="317099162" sldId="1749"/>
            <ac:spMk id="16" creationId="{6C2BB713-9637-4B9B-938F-E9768876782A}"/>
          </ac:spMkLst>
        </pc:spChg>
      </pc:sldChg>
      <pc:sldChg chg="del">
        <pc:chgData name="Aurelien Domont" userId="6da7715ce44349b3" providerId="LiveId" clId="{E6277905-FCCE-4B88-BAD6-C5854D60B696}" dt="2021-05-19T07:15:14.400" v="1758" actId="47"/>
        <pc:sldMkLst>
          <pc:docMk/>
          <pc:sldMk cId="3324303879" sldId="1917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3738554192" sldId="1918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4287792945" sldId="1919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1711813648" sldId="1920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1649006803" sldId="1921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3022188194" sldId="1922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1872329668" sldId="1923"/>
        </pc:sldMkLst>
      </pc:sldChg>
      <pc:sldChg chg="addSp delSp modSp del mod">
        <pc:chgData name="Aurelien Domont" userId="6da7715ce44349b3" providerId="LiveId" clId="{E6277905-FCCE-4B88-BAD6-C5854D60B696}" dt="2021-05-19T07:33:11.627" v="1777" actId="47"/>
        <pc:sldMkLst>
          <pc:docMk/>
          <pc:sldMk cId="1659127470" sldId="1924"/>
        </pc:sldMkLst>
        <pc:spChg chg="add del mod">
          <ac:chgData name="Aurelien Domont" userId="6da7715ce44349b3" providerId="LiveId" clId="{E6277905-FCCE-4B88-BAD6-C5854D60B696}" dt="2021-05-19T06:39:27.924" v="1101" actId="478"/>
          <ac:spMkLst>
            <pc:docMk/>
            <pc:sldMk cId="1659127470" sldId="1924"/>
            <ac:spMk id="2" creationId="{8D91CEA2-A9A2-44FD-975C-6F4A2D59641D}"/>
          </ac:spMkLst>
        </pc:spChg>
        <pc:spChg chg="add del mod">
          <ac:chgData name="Aurelien Domont" userId="6da7715ce44349b3" providerId="LiveId" clId="{E6277905-FCCE-4B88-BAD6-C5854D60B696}" dt="2021-05-19T06:24:02.853" v="853" actId="478"/>
          <ac:spMkLst>
            <pc:docMk/>
            <pc:sldMk cId="1659127470" sldId="1924"/>
            <ac:spMk id="4" creationId="{1E764DDF-9638-4878-B977-C06C1B7046F5}"/>
          </ac:spMkLst>
        </pc:spChg>
        <pc:spChg chg="add del mod">
          <ac:chgData name="Aurelien Domont" userId="6da7715ce44349b3" providerId="LiveId" clId="{E6277905-FCCE-4B88-BAD6-C5854D60B696}" dt="2021-05-18T05:50:48.987" v="45" actId="478"/>
          <ac:spMkLst>
            <pc:docMk/>
            <pc:sldMk cId="1659127470" sldId="1924"/>
            <ac:spMk id="14" creationId="{1E88A16D-E54C-45FC-97FE-3A1C196DAF1A}"/>
          </ac:spMkLst>
        </pc:spChg>
        <pc:spChg chg="mod">
          <ac:chgData name="Aurelien Domont" userId="6da7715ce44349b3" providerId="LiveId" clId="{E6277905-FCCE-4B88-BAD6-C5854D60B696}" dt="2021-05-18T05:41:48.391" v="40" actId="20577"/>
          <ac:spMkLst>
            <pc:docMk/>
            <pc:sldMk cId="1659127470" sldId="1924"/>
            <ac:spMk id="16" creationId="{6C2BB713-9637-4B9B-938F-E9768876782A}"/>
          </ac:spMkLst>
        </pc:spChg>
        <pc:spChg chg="mod">
          <ac:chgData name="Aurelien Domont" userId="6da7715ce44349b3" providerId="LiveId" clId="{E6277905-FCCE-4B88-BAD6-C5854D60B696}" dt="2021-05-19T07:11:36.761" v="1694" actId="20577"/>
          <ac:spMkLst>
            <pc:docMk/>
            <pc:sldMk cId="1659127470" sldId="1924"/>
            <ac:spMk id="17" creationId="{469F466A-B940-41E3-B12F-110D72502BCE}"/>
          </ac:spMkLst>
        </pc:spChg>
        <pc:spChg chg="mod">
          <ac:chgData name="Aurelien Domont" userId="6da7715ce44349b3" providerId="LiveId" clId="{E6277905-FCCE-4B88-BAD6-C5854D60B696}" dt="2021-05-18T05:57:42.931" v="188" actId="20577"/>
          <ac:spMkLst>
            <pc:docMk/>
            <pc:sldMk cId="1659127470" sldId="1924"/>
            <ac:spMk id="20" creationId="{3A4E6A8C-908C-49FF-9BF8-90A9FC12224D}"/>
          </ac:spMkLst>
        </pc:spChg>
        <pc:spChg chg="mod">
          <ac:chgData name="Aurelien Domont" userId="6da7715ce44349b3" providerId="LiveId" clId="{E6277905-FCCE-4B88-BAD6-C5854D60B696}" dt="2021-05-19T07:11:44.329" v="1698" actId="20577"/>
          <ac:spMkLst>
            <pc:docMk/>
            <pc:sldMk cId="1659127470" sldId="1924"/>
            <ac:spMk id="21" creationId="{16FAC062-BB56-4A49-9044-4444E78429DF}"/>
          </ac:spMkLst>
        </pc:spChg>
        <pc:spChg chg="mod">
          <ac:chgData name="Aurelien Domont" userId="6da7715ce44349b3" providerId="LiveId" clId="{E6277905-FCCE-4B88-BAD6-C5854D60B696}" dt="2021-05-19T06:37:08.662" v="1088" actId="179"/>
          <ac:spMkLst>
            <pc:docMk/>
            <pc:sldMk cId="1659127470" sldId="1924"/>
            <ac:spMk id="24" creationId="{95714746-22CF-48C5-AD51-9D9AE6E5F2C8}"/>
          </ac:spMkLst>
        </pc:spChg>
        <pc:spChg chg="mod">
          <ac:chgData name="Aurelien Domont" userId="6da7715ce44349b3" providerId="LiveId" clId="{E6277905-FCCE-4B88-BAD6-C5854D60B696}" dt="2021-05-19T07:21:25.037" v="1775" actId="313"/>
          <ac:spMkLst>
            <pc:docMk/>
            <pc:sldMk cId="1659127470" sldId="1924"/>
            <ac:spMk id="25" creationId="{0B462317-12E0-4745-AFEC-1DF156C5EB17}"/>
          </ac:spMkLst>
        </pc:spChg>
        <pc:spChg chg="mod">
          <ac:chgData name="Aurelien Domont" userId="6da7715ce44349b3" providerId="LiveId" clId="{E6277905-FCCE-4B88-BAD6-C5854D60B696}" dt="2021-05-19T06:43:08.751" v="1120" actId="20577"/>
          <ac:spMkLst>
            <pc:docMk/>
            <pc:sldMk cId="1659127470" sldId="1924"/>
            <ac:spMk id="28" creationId="{46F541B2-19A4-48FE-BC36-F95AB3359448}"/>
          </ac:spMkLst>
        </pc:spChg>
        <pc:cxnChg chg="add del mod">
          <ac:chgData name="Aurelien Domont" userId="6da7715ce44349b3" providerId="LiveId" clId="{E6277905-FCCE-4B88-BAD6-C5854D60B696}" dt="2021-05-18T05:56:42.969" v="183" actId="478"/>
          <ac:cxnSpMkLst>
            <pc:docMk/>
            <pc:sldMk cId="1659127470" sldId="1924"/>
            <ac:cxnSpMk id="15" creationId="{2633E9D1-B28B-464D-8203-38A139B3D947}"/>
          </ac:cxnSpMkLst>
        </pc:cxnChg>
        <pc:cxnChg chg="add mod">
          <ac:chgData name="Aurelien Domont" userId="6da7715ce44349b3" providerId="LiveId" clId="{E6277905-FCCE-4B88-BAD6-C5854D60B696}" dt="2021-05-19T06:29:20.431" v="930" actId="1038"/>
          <ac:cxnSpMkLst>
            <pc:docMk/>
            <pc:sldMk cId="1659127470" sldId="1924"/>
            <ac:cxnSpMk id="15" creationId="{E60236D9-FA17-46A1-923E-EAFAC3847145}"/>
          </ac:cxnSpMkLst>
        </pc:cxnChg>
        <pc:cxnChg chg="mod">
          <ac:chgData name="Aurelien Domont" userId="6da7715ce44349b3" providerId="LiveId" clId="{E6277905-FCCE-4B88-BAD6-C5854D60B696}" dt="2021-05-19T06:29:17.208" v="927" actId="1037"/>
          <ac:cxnSpMkLst>
            <pc:docMk/>
            <pc:sldMk cId="1659127470" sldId="1924"/>
            <ac:cxnSpMk id="22" creationId="{8F214CF9-01D2-40DC-9D6F-DAC675E238D0}"/>
          </ac:cxnSpMkLst>
        </pc:cxnChg>
        <pc:cxnChg chg="del mod">
          <ac:chgData name="Aurelien Domont" userId="6da7715ce44349b3" providerId="LiveId" clId="{E6277905-FCCE-4B88-BAD6-C5854D60B696}" dt="2021-05-19T06:27:03.979" v="896" actId="478"/>
          <ac:cxnSpMkLst>
            <pc:docMk/>
            <pc:sldMk cId="1659127470" sldId="1924"/>
            <ac:cxnSpMk id="23" creationId="{919B0EFB-7619-4E1E-BC50-B4C9AA07AF7A}"/>
          </ac:cxnSpMkLst>
        </pc:cxnChg>
      </pc:sldChg>
      <pc:sldChg chg="addSp delSp modSp del mod">
        <pc:chgData name="Aurelien Domont" userId="6da7715ce44349b3" providerId="LiveId" clId="{E6277905-FCCE-4B88-BAD6-C5854D60B696}" dt="2021-05-19T07:18:52.520" v="1773" actId="47"/>
        <pc:sldMkLst>
          <pc:docMk/>
          <pc:sldMk cId="3274212698" sldId="1925"/>
        </pc:sldMkLst>
        <pc:spChg chg="mod">
          <ac:chgData name="Aurelien Domont" userId="6da7715ce44349b3" providerId="LiveId" clId="{E6277905-FCCE-4B88-BAD6-C5854D60B696}" dt="2021-05-19T06:43:54.964" v="1137" actId="20577"/>
          <ac:spMkLst>
            <pc:docMk/>
            <pc:sldMk cId="3274212698" sldId="1925"/>
            <ac:spMk id="2" creationId="{406113FD-AA7D-4249-90D7-70AF85BE48E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4" creationId="{411193A8-7FDF-4516-9582-7F8223998366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5" creationId="{F77BF668-13F9-4E2F-B2A0-A370A4533CBC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6" creationId="{8E933AF5-28A9-4624-8233-36924701A2D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7" creationId="{514BD66A-7DFE-4DC0-BD92-3FE6154D10AE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8" creationId="{A74BC356-AD5C-4CE9-BA6C-95605462BF66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9" creationId="{B43642D1-F386-4B4A-9CC3-A7E2404701A0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50" creationId="{90107E7F-DBC3-49BD-8C62-6977301018C8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59" creationId="{17CFC19B-CFD4-4FBA-8E77-47ED02F3E8D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0" creationId="{695C4FA9-2B8E-4FB8-93E0-7A02320B548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1" creationId="{F4E5E171-5D7F-4FAF-93CF-CB62F4A1F2E9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2" creationId="{CD05CB2E-DBDA-4A1B-94E2-D867171F59FE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3" creationId="{470F2536-F17A-4FD5-86E3-1E1195927B69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4" creationId="{3E229F8E-1ADC-441D-9585-3A2C8AD31EE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5" creationId="{582A4E88-3E6E-4B57-9921-2E01D1CB84B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7" creationId="{04C18065-77FD-459E-88D7-A7F46835297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8" creationId="{5579B3EC-9EEB-4609-8D9D-F20B76F9615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0" creationId="{CB1C877D-16A2-4DB0-BED8-3B0FFFB64706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1" creationId="{08230361-6FC5-4337-BAC4-7E325C461DA8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4" creationId="{EBD37F0A-29E0-4969-B5EC-4141D2BB6320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5" creationId="{C4AA2ACA-39B4-442C-B099-063BDA1B897F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6" creationId="{C7E64FD9-D958-4425-99D6-C3E50B606C24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8" creationId="{AFA816E6-1329-4FC9-8CAA-8F49CFA1DFBC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9" creationId="{ACC84311-B402-461E-AAFC-27D36981BAB2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2" creationId="{6811F91F-B232-427E-8EA1-0BB3DD3C51C0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3" creationId="{AAC49384-107F-45CD-909C-F6FDB30DF078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4" creationId="{888D5CDC-366F-4498-8F92-1BA9C0FD9FB3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5" creationId="{0E16496C-7686-4070-9D81-F36A72936A6A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6" creationId="{127F6FD2-4304-4DFA-A08B-BB3C214889AF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7" creationId="{A71BA3C2-E523-4189-B411-ED11F9ECB38B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8" creationId="{766A1229-361F-44BF-89FD-2D51ADB3BA94}"/>
          </ac:spMkLst>
        </pc:spChg>
        <pc:spChg chg="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0" creationId="{52FECA04-FE94-4CD4-A547-117453F9F109}"/>
          </ac:spMkLst>
        </pc:spChg>
        <pc:spChg chg="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1" creationId="{A372959C-3AFF-472F-8D6F-FCBBC776AA53}"/>
          </ac:spMkLst>
        </pc:spChg>
        <pc:spChg chg="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2" creationId="{1F420D8E-C094-4A16-97C1-B7ADE0D46800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7" creationId="{E770489E-EA82-4CFA-B698-A7C53ADB8BC7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8" creationId="{12447D7D-E5EE-4686-A7DF-7DCA86978787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9" creationId="{B7374880-E0FF-410F-9F48-D2CDE07B8105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0" creationId="{76415466-16C6-4662-8EB0-14B506132EBB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1" creationId="{72A1A962-A60A-4408-8E61-EA23F7F3E1A1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2" creationId="{EB30F586-B7B6-4A72-B28B-16A4112D8796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3" creationId="{AA8283F7-A9A6-4E77-987A-4ADEB5C26C81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5" creationId="{A358FC29-7E29-44E1-A1BF-BA88F2E760B8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6" creationId="{FC7CAB25-A186-4536-9A49-30F317025553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8" creationId="{25E2FD35-ABF8-4B86-9228-17BAFB2B4F3B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9" creationId="{F2DC97CE-688B-4C4C-A8E8-A8E31BF663E9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1" creationId="{20264536-8DBF-4607-8B09-E74BA49D9878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2" creationId="{868F2369-1DB3-4017-A4A9-76D43C563CD4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4" creationId="{CDC3F07F-2D23-470D-B603-3FD8AB1ADAE6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5" creationId="{D0ADBC97-04C2-44A6-9094-FEE29F8B7AA5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6" creationId="{9A37BDF5-FBB8-46A2-ADFF-7BB4832D9805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7" creationId="{E2B7F8CB-E3EF-4740-BA5F-AC69AEE785D4}"/>
          </ac:spMkLst>
        </pc:spChg>
        <pc:grpChg chg="del">
          <ac:chgData name="Aurelien Domont" userId="6da7715ce44349b3" providerId="LiveId" clId="{E6277905-FCCE-4B88-BAD6-C5854D60B696}" dt="2021-05-19T06:44:02.951" v="1138" actId="478"/>
          <ac:grpSpMkLst>
            <pc:docMk/>
            <pc:sldMk cId="3274212698" sldId="1925"/>
            <ac:grpSpMk id="51" creationId="{02FE18B2-1EE1-423B-AA56-2E1957D32FB5}"/>
          </ac:grpSpMkLst>
        </pc:grpChg>
        <pc:grpChg chg="add mod">
          <ac:chgData name="Aurelien Domont" userId="6da7715ce44349b3" providerId="LiveId" clId="{E6277905-FCCE-4B88-BAD6-C5854D60B696}" dt="2021-05-19T06:45:08.943" v="1139"/>
          <ac:grpSpMkLst>
            <pc:docMk/>
            <pc:sldMk cId="3274212698" sldId="1925"/>
            <ac:grpSpMk id="89" creationId="{3955A9F5-B7CD-4F64-90B8-D5971EBAE0DD}"/>
          </ac:grpSpMkLst>
        </pc:grp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5" creationId="{A4FA445D-A84A-41ED-8E02-195CF8F8A81D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6" creationId="{64ADD5FF-156B-4D9B-A8EF-89EB7E6D3FBF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7" creationId="{FB803174-AE02-400E-9C93-D03E88712308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8" creationId="{D4A6C9F0-BCEF-4AFF-9704-E4BF64DB0ADD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66" creationId="{9A15547F-27C7-494F-9B37-6EB3ED04DB87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69" creationId="{7D2EA8E4-AEED-45E4-851F-DDA0ED3FADFB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72" creationId="{3E3C36E9-A83F-4982-AF48-F596BB1975B8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73" creationId="{E75442E2-71E9-44FC-A238-51195747C8BC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77" creationId="{8008FDF0-7F97-4342-A1DE-7763174709E6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80" creationId="{39C7C8E8-3819-4704-9576-38320744029D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81" creationId="{E1A1A112-7EBD-45B0-8611-7A7D55304913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3" creationId="{55D4B895-3F0B-4DD6-853E-DCC05E388F80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4" creationId="{E6B5A254-7475-41A8-AD4A-41672F41F9AD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5" creationId="{BAC39F4C-80C6-4F37-939A-FEC43265C745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6" creationId="{E8DA2080-DD45-41EE-A88B-D78AF94F664B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04" creationId="{C818559D-D1CC-483D-8C91-4FF20EF6C5E5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07" creationId="{2BA8F216-B9A4-4F55-8B5D-97927B4A9754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0" creationId="{AA72594A-CB70-4602-8A29-5BCAD24FC85B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3" creationId="{BE302D27-2062-4483-BA8A-40643D1A0757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8" creationId="{56FCC3FA-007A-40E2-B90C-01AFFCF85C47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9" creationId="{86CC8FE2-E91B-444C-9A8D-5927B10AD0D3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20" creationId="{7EF86C02-27FF-4AA3-B563-8410E16DC732}"/>
          </ac:picMkLst>
        </pc:picChg>
      </pc:sldChg>
      <pc:sldChg chg="del">
        <pc:chgData name="Aurelien Domont" userId="6da7715ce44349b3" providerId="LiveId" clId="{E6277905-FCCE-4B88-BAD6-C5854D60B696}" dt="2021-05-19T07:18:52.520" v="1773" actId="47"/>
        <pc:sldMkLst>
          <pc:docMk/>
          <pc:sldMk cId="4057054822" sldId="2147"/>
        </pc:sldMkLst>
      </pc:sldChg>
      <pc:sldChg chg="del">
        <pc:chgData name="Aurelien Domont" userId="6da7715ce44349b3" providerId="LiveId" clId="{E6277905-FCCE-4B88-BAD6-C5854D60B696}" dt="2021-05-19T07:18:52.520" v="1773" actId="47"/>
        <pc:sldMkLst>
          <pc:docMk/>
          <pc:sldMk cId="4208437711" sldId="2148"/>
        </pc:sldMkLst>
      </pc:sldChg>
      <pc:sldChg chg="addSp delSp modSp add mod">
        <pc:chgData name="Aurelien Domont" userId="6da7715ce44349b3" providerId="LiveId" clId="{E6277905-FCCE-4B88-BAD6-C5854D60B696}" dt="2021-05-27T01:27:06.051" v="1819" actId="20577"/>
        <pc:sldMkLst>
          <pc:docMk/>
          <pc:sldMk cId="3004254457" sldId="2150"/>
        </pc:sldMkLst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15" creationId="{289522BB-8120-41ED-8691-D1DB7714657B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17" creationId="{469F466A-B940-41E3-B12F-110D72502BCE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18" creationId="{810A83E6-FE02-4001-9505-44D323E9D95D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19" creationId="{6B0700AA-AC6D-4D0E-87F8-23C3C0894B7F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0" creationId="{3A4E6A8C-908C-49FF-9BF8-90A9FC12224D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1" creationId="{16FAC062-BB56-4A49-9044-4444E78429DF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23" creationId="{DDAAF93C-8394-4D44-BF82-1D40800031E3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4" creationId="{95714746-22CF-48C5-AD51-9D9AE6E5F2C8}"/>
          </ac:spMkLst>
        </pc:spChg>
        <pc:spChg chg="del">
          <ac:chgData name="Aurelien Domont" userId="6da7715ce44349b3" providerId="LiveId" clId="{E6277905-FCCE-4B88-BAD6-C5854D60B696}" dt="2021-05-26T06:40:48.253" v="1779" actId="478"/>
          <ac:spMkLst>
            <pc:docMk/>
            <pc:sldMk cId="3004254457" sldId="2150"/>
            <ac:spMk id="25" creationId="{0B462317-12E0-4745-AFEC-1DF156C5EB17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27" creationId="{1E9241A9-8AC6-40BA-9028-747979496287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8" creationId="{46F541B2-19A4-48FE-BC36-F95AB3359448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29" creationId="{18ED52D6-0147-4100-8A16-A75D674809A5}"/>
          </ac:spMkLst>
        </pc:spChg>
        <pc:spChg chg="add del mod">
          <ac:chgData name="Aurelien Domont" userId="6da7715ce44349b3" providerId="LiveId" clId="{E6277905-FCCE-4B88-BAD6-C5854D60B696}" dt="2021-05-26T06:40:56.939" v="1783" actId="478"/>
          <ac:spMkLst>
            <pc:docMk/>
            <pc:sldMk cId="3004254457" sldId="2150"/>
            <ac:spMk id="31" creationId="{C800D2F5-D2B7-4475-A5E3-A9FE8396C089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2" creationId="{F4E53BA9-9AB9-48F0-A73B-05C6322E3392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3" creationId="{CDADC7B4-4779-49A3-9FCF-3DC29EF44738}"/>
          </ac:spMkLst>
        </pc:spChg>
        <pc:spChg chg="add mod">
          <ac:chgData name="Aurelien Domont" userId="6da7715ce44349b3" providerId="LiveId" clId="{E6277905-FCCE-4B88-BAD6-C5854D60B696}" dt="2021-05-26T06:40:59.418" v="1784" actId="108"/>
          <ac:spMkLst>
            <pc:docMk/>
            <pc:sldMk cId="3004254457" sldId="2150"/>
            <ac:spMk id="34" creationId="{30185B92-2394-4D45-8987-284B6B741CF6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6" creationId="{AAC5EFF7-9581-4CFA-9007-0B2D138DC929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7" creationId="{97849EAC-234E-45EF-B196-78699AC97FA2}"/>
          </ac:spMkLst>
        </pc:spChg>
        <pc:spChg chg="add mod">
          <ac:chgData name="Aurelien Domont" userId="6da7715ce44349b3" providerId="LiveId" clId="{E6277905-FCCE-4B88-BAD6-C5854D60B696}" dt="2021-05-27T01:27:06.051" v="1819" actId="20577"/>
          <ac:spMkLst>
            <pc:docMk/>
            <pc:sldMk cId="3004254457" sldId="2150"/>
            <ac:spMk id="38" creationId="{3CA2023D-F310-415B-9867-7BDE343D904B}"/>
          </ac:spMkLst>
        </pc:spChg>
        <pc:cxnChg chg="del">
          <ac:chgData name="Aurelien Domont" userId="6da7715ce44349b3" providerId="LiveId" clId="{E6277905-FCCE-4B88-BAD6-C5854D60B696}" dt="2021-05-26T06:40:44.917" v="1778" actId="478"/>
          <ac:cxnSpMkLst>
            <pc:docMk/>
            <pc:sldMk cId="3004254457" sldId="2150"/>
            <ac:cxnSpMk id="14" creationId="{8AF311F1-81EB-4B55-BE8A-132238822DBA}"/>
          </ac:cxnSpMkLst>
        </pc:cxnChg>
        <pc:cxnChg chg="del">
          <ac:chgData name="Aurelien Domont" userId="6da7715ce44349b3" providerId="LiveId" clId="{E6277905-FCCE-4B88-BAD6-C5854D60B696}" dt="2021-05-26T06:40:44.917" v="1778" actId="478"/>
          <ac:cxnSpMkLst>
            <pc:docMk/>
            <pc:sldMk cId="3004254457" sldId="2150"/>
            <ac:cxnSpMk id="22" creationId="{8F214CF9-01D2-40DC-9D6F-DAC675E238D0}"/>
          </ac:cxnSpMkLst>
        </pc:cxnChg>
        <pc:cxnChg chg="add del mod">
          <ac:chgData name="Aurelien Domont" userId="6da7715ce44349b3" providerId="LiveId" clId="{E6277905-FCCE-4B88-BAD6-C5854D60B696}" dt="2021-05-26T06:40:50.460" v="1781"/>
          <ac:cxnSpMkLst>
            <pc:docMk/>
            <pc:sldMk cId="3004254457" sldId="2150"/>
            <ac:cxnSpMk id="26" creationId="{57957259-D5E3-4C24-91F9-79457648283C}"/>
          </ac:cxnSpMkLst>
        </pc:cxnChg>
        <pc:cxnChg chg="add del mod">
          <ac:chgData name="Aurelien Domont" userId="6da7715ce44349b3" providerId="LiveId" clId="{E6277905-FCCE-4B88-BAD6-C5854D60B696}" dt="2021-05-26T06:40:50.460" v="1781"/>
          <ac:cxnSpMkLst>
            <pc:docMk/>
            <pc:sldMk cId="3004254457" sldId="2150"/>
            <ac:cxnSpMk id="30" creationId="{BE7426A9-F6EC-4B08-9D2D-D1185F92903E}"/>
          </ac:cxnSpMkLst>
        </pc:cxnChg>
        <pc:cxnChg chg="add mod">
          <ac:chgData name="Aurelien Domont" userId="6da7715ce44349b3" providerId="LiveId" clId="{E6277905-FCCE-4B88-BAD6-C5854D60B696}" dt="2021-05-26T06:40:54.163" v="1782"/>
          <ac:cxnSpMkLst>
            <pc:docMk/>
            <pc:sldMk cId="3004254457" sldId="2150"/>
            <ac:cxnSpMk id="35" creationId="{AC48342A-109D-4373-B3D7-98BE0267DC04}"/>
          </ac:cxnSpMkLst>
        </pc:cxnChg>
        <pc:cxnChg chg="add mod">
          <ac:chgData name="Aurelien Domont" userId="6da7715ce44349b3" providerId="LiveId" clId="{E6277905-FCCE-4B88-BAD6-C5854D60B696}" dt="2021-05-26T06:40:54.163" v="1782"/>
          <ac:cxnSpMkLst>
            <pc:docMk/>
            <pc:sldMk cId="3004254457" sldId="2150"/>
            <ac:cxnSpMk id="39" creationId="{02DB1088-3FCD-49FB-A3C3-A1CEBA001978}"/>
          </ac:cxnSpMkLst>
        </pc:cxnChg>
      </pc:sldChg>
      <pc:sldChg chg="delSp add del mod">
        <pc:chgData name="Aurelien Domont" userId="6da7715ce44349b3" providerId="LiveId" clId="{E6277905-FCCE-4B88-BAD6-C5854D60B696}" dt="2021-05-19T06:29:07.268" v="922" actId="47"/>
        <pc:sldMkLst>
          <pc:docMk/>
          <pc:sldMk cId="4006627445" sldId="2150"/>
        </pc:sldMkLst>
        <pc:spChg chg="del">
          <ac:chgData name="Aurelien Domont" userId="6da7715ce44349b3" providerId="LiveId" clId="{E6277905-FCCE-4B88-BAD6-C5854D60B696}" dt="2021-05-18T05:50:46.670" v="44" actId="478"/>
          <ac:spMkLst>
            <pc:docMk/>
            <pc:sldMk cId="4006627445" sldId="2150"/>
            <ac:spMk id="14" creationId="{1E88A16D-E54C-45FC-97FE-3A1C196DAF1A}"/>
          </ac:spMkLst>
        </pc:spChg>
      </pc:sldChg>
      <pc:sldChg chg="modSp add del mod">
        <pc:chgData name="Aurelien Domont" userId="6da7715ce44349b3" providerId="LiveId" clId="{E6277905-FCCE-4B88-BAD6-C5854D60B696}" dt="2021-05-19T06:28:23.391" v="921" actId="47"/>
        <pc:sldMkLst>
          <pc:docMk/>
          <pc:sldMk cId="800771593" sldId="2151"/>
        </pc:sldMkLst>
        <pc:spChg chg="mod">
          <ac:chgData name="Aurelien Domont" userId="6da7715ce44349b3" providerId="LiveId" clId="{E6277905-FCCE-4B88-BAD6-C5854D60B696}" dt="2021-05-19T05:54:39.115" v="328" actId="207"/>
          <ac:spMkLst>
            <pc:docMk/>
            <pc:sldMk cId="800771593" sldId="2151"/>
            <ac:spMk id="2" creationId="{8D91CEA2-A9A2-44FD-975C-6F4A2D59641D}"/>
          </ac:spMkLst>
        </pc:spChg>
      </pc:sldChg>
      <pc:sldChg chg="modSp add del mod">
        <pc:chgData name="Aurelien Domont" userId="6da7715ce44349b3" providerId="LiveId" clId="{E6277905-FCCE-4B88-BAD6-C5854D60B696}" dt="2021-05-19T06:28:21.064" v="920" actId="47"/>
        <pc:sldMkLst>
          <pc:docMk/>
          <pc:sldMk cId="3247063612" sldId="2152"/>
        </pc:sldMkLst>
        <pc:spChg chg="mod">
          <ac:chgData name="Aurelien Domont" userId="6da7715ce44349b3" providerId="LiveId" clId="{E6277905-FCCE-4B88-BAD6-C5854D60B696}" dt="2021-05-19T06:12:41.432" v="657" actId="108"/>
          <ac:spMkLst>
            <pc:docMk/>
            <pc:sldMk cId="3247063612" sldId="2152"/>
            <ac:spMk id="2" creationId="{8D91CEA2-A9A2-44FD-975C-6F4A2D59641D}"/>
          </ac:spMkLst>
        </pc:spChg>
      </pc:sldChg>
    </pc:docChg>
  </pc:docChgLst>
  <pc:docChgLst>
    <pc:chgData name="Aurelien Domont" userId="6da7715ce44349b3" providerId="LiveId" clId="{4B4C3012-157D-4E70-9450-C4952F9A74AA}"/>
    <pc:docChg chg="undo custSel addSld delSld modSld">
      <pc:chgData name="Aurelien Domont" userId="6da7715ce44349b3" providerId="LiveId" clId="{4B4C3012-157D-4E70-9450-C4952F9A74AA}" dt="2021-07-09T03:54:44.127" v="526" actId="47"/>
      <pc:docMkLst>
        <pc:docMk/>
      </pc:docMkLst>
      <pc:sldChg chg="modSp">
        <pc:chgData name="Aurelien Domont" userId="6da7715ce44349b3" providerId="LiveId" clId="{4B4C3012-157D-4E70-9450-C4952F9A74AA}" dt="2021-07-09T03:29:03.401" v="49"/>
        <pc:sldMkLst>
          <pc:docMk/>
          <pc:sldMk cId="3272444503" sldId="2162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3272444503" sldId="2162"/>
            <ac:spMk id="34" creationId="{2B936149-E2A6-4141-A333-C5E1855245B1}"/>
          </ac:spMkLst>
        </pc:sp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3193088531" sldId="2164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3193088531" sldId="2164"/>
            <ac:spMk id="10" creationId="{F6F130AE-016B-49E7-B056-02422308B35C}"/>
          </ac:spMkLst>
        </pc:spChg>
      </pc:sldChg>
      <pc:sldChg chg="modSp mod">
        <pc:chgData name="Aurelien Domont" userId="6da7715ce44349b3" providerId="LiveId" clId="{4B4C3012-157D-4E70-9450-C4952F9A74AA}" dt="2021-07-09T03:47:15.923" v="237" actId="313"/>
        <pc:sldMkLst>
          <pc:docMk/>
          <pc:sldMk cId="2369505737" sldId="2167"/>
        </pc:sldMkLst>
        <pc:spChg chg="mod">
          <ac:chgData name="Aurelien Domont" userId="6da7715ce44349b3" providerId="LiveId" clId="{4B4C3012-157D-4E70-9450-C4952F9A74AA}" dt="2021-07-09T03:28:26.059" v="48" actId="6549"/>
          <ac:spMkLst>
            <pc:docMk/>
            <pc:sldMk cId="2369505737" sldId="2167"/>
            <ac:spMk id="10" creationId="{B4598AEF-78F8-475E-AC7D-E8372096BAB2}"/>
          </ac:spMkLst>
        </pc:spChg>
        <pc:spChg chg="mod">
          <ac:chgData name="Aurelien Domont" userId="6da7715ce44349b3" providerId="LiveId" clId="{4B4C3012-157D-4E70-9450-C4952F9A74AA}" dt="2021-07-09T03:47:15.923" v="237" actId="313"/>
          <ac:spMkLst>
            <pc:docMk/>
            <pc:sldMk cId="2369505737" sldId="2167"/>
            <ac:spMk id="16" creationId="{6C2BB713-9637-4B9B-938F-E9768876782A}"/>
          </ac:spMkLst>
        </pc:spChg>
      </pc:sldChg>
      <pc:sldChg chg="addSp delSp modSp mod">
        <pc:chgData name="Aurelien Domont" userId="6da7715ce44349b3" providerId="LiveId" clId="{4B4C3012-157D-4E70-9450-C4952F9A74AA}" dt="2021-07-09T03:50:34.074" v="291" actId="14100"/>
        <pc:sldMkLst>
          <pc:docMk/>
          <pc:sldMk cId="4178836903" sldId="2169"/>
        </pc:sldMkLst>
        <pc:spChg chg="add mod">
          <ac:chgData name="Aurelien Domont" userId="6da7715ce44349b3" providerId="LiveId" clId="{4B4C3012-157D-4E70-9450-C4952F9A74AA}" dt="2021-07-09T03:50:28.143" v="290" actId="14100"/>
          <ac:spMkLst>
            <pc:docMk/>
            <pc:sldMk cId="4178836903" sldId="2169"/>
            <ac:spMk id="12" creationId="{E7675798-47BC-4250-BA24-0E2AC4A10A86}"/>
          </ac:spMkLst>
        </pc:spChg>
        <pc:spChg chg="add mod">
          <ac:chgData name="Aurelien Domont" userId="6da7715ce44349b3" providerId="LiveId" clId="{4B4C3012-157D-4E70-9450-C4952F9A74AA}" dt="2021-07-09T03:50:34.074" v="291" actId="14100"/>
          <ac:spMkLst>
            <pc:docMk/>
            <pc:sldMk cId="4178836903" sldId="2169"/>
            <ac:spMk id="15" creationId="{9D051C05-62A5-4FB5-846C-31987D33AA9E}"/>
          </ac:spMkLst>
        </pc:spChg>
        <pc:spChg chg="add mod">
          <ac:chgData name="Aurelien Domont" userId="6da7715ce44349b3" providerId="LiveId" clId="{4B4C3012-157D-4E70-9450-C4952F9A74AA}" dt="2021-07-09T03:50:34.074" v="291" actId="14100"/>
          <ac:spMkLst>
            <pc:docMk/>
            <pc:sldMk cId="4178836903" sldId="2169"/>
            <ac:spMk id="17" creationId="{142BE8BF-9256-475D-900B-55FCC0CE6DB5}"/>
          </ac:spMkLst>
        </pc:spChg>
        <pc:spChg chg="add del mod">
          <ac:chgData name="Aurelien Domont" userId="6da7715ce44349b3" providerId="LiveId" clId="{4B4C3012-157D-4E70-9450-C4952F9A74AA}" dt="2021-07-09T03:46:05.495" v="223" actId="478"/>
          <ac:spMkLst>
            <pc:docMk/>
            <pc:sldMk cId="4178836903" sldId="2169"/>
            <ac:spMk id="18" creationId="{E12AE6E6-31E1-4A14-87D6-554577C39F2D}"/>
          </ac:spMkLst>
        </pc:spChg>
        <pc:spChg chg="add mod">
          <ac:chgData name="Aurelien Domont" userId="6da7715ce44349b3" providerId="LiveId" clId="{4B4C3012-157D-4E70-9450-C4952F9A74AA}" dt="2021-07-09T03:50:34.074" v="291" actId="14100"/>
          <ac:spMkLst>
            <pc:docMk/>
            <pc:sldMk cId="4178836903" sldId="2169"/>
            <ac:spMk id="19" creationId="{B9017FA6-F0E0-4269-9C6B-53FA5BEF3E64}"/>
          </ac:spMkLst>
        </pc:spChg>
        <pc:picChg chg="mod">
          <ac:chgData name="Aurelien Domont" userId="6da7715ce44349b3" providerId="LiveId" clId="{4B4C3012-157D-4E70-9450-C4952F9A74AA}" dt="2021-07-09T03:43:30.991" v="113" actId="14100"/>
          <ac:picMkLst>
            <pc:docMk/>
            <pc:sldMk cId="4178836903" sldId="2169"/>
            <ac:picMk id="2" creationId="{84E5CC93-D5AA-458E-BB87-714F1E53178E}"/>
          </ac:picMkLst>
        </pc:picChg>
        <pc:picChg chg="mod">
          <ac:chgData name="Aurelien Domont" userId="6da7715ce44349b3" providerId="LiveId" clId="{4B4C3012-157D-4E70-9450-C4952F9A74AA}" dt="2021-07-09T03:43:30.991" v="113" actId="14100"/>
          <ac:picMkLst>
            <pc:docMk/>
            <pc:sldMk cId="4178836903" sldId="2169"/>
            <ac:picMk id="3" creationId="{097ECFA8-B152-4816-9DCE-7FB11FD32803}"/>
          </ac:picMkLst>
        </pc:picChg>
        <pc:picChg chg="mod">
          <ac:chgData name="Aurelien Domont" userId="6da7715ce44349b3" providerId="LiveId" clId="{4B4C3012-157D-4E70-9450-C4952F9A74AA}" dt="2021-07-09T03:43:38.206" v="123" actId="1036"/>
          <ac:picMkLst>
            <pc:docMk/>
            <pc:sldMk cId="4178836903" sldId="2169"/>
            <ac:picMk id="4" creationId="{71090539-4853-42C0-8BB5-619FDF372F84}"/>
          </ac:picMkLst>
        </pc:picChg>
        <pc:picChg chg="mod">
          <ac:chgData name="Aurelien Domont" userId="6da7715ce44349b3" providerId="LiveId" clId="{4B4C3012-157D-4E70-9450-C4952F9A74AA}" dt="2021-07-09T03:43:38.206" v="123" actId="1036"/>
          <ac:picMkLst>
            <pc:docMk/>
            <pc:sldMk cId="4178836903" sldId="2169"/>
            <ac:picMk id="11" creationId="{F7A9918B-B7CD-4643-8B6A-74AEBFA4B2C2}"/>
          </ac:picMkLst>
        </pc:pic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4258618140" sldId="2187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4258618140" sldId="2187"/>
            <ac:spMk id="37" creationId="{4C7EFCC8-043E-481C-9578-CB71BB412AE5}"/>
          </ac:spMkLst>
        </pc:spChg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4258618140" sldId="2187"/>
            <ac:spMk id="41" creationId="{72366D1D-DF2B-48D3-BEAB-6BC2B5054885}"/>
          </ac:spMkLst>
        </pc:sp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1390113814" sldId="2188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1390113814" sldId="2188"/>
            <ac:spMk id="10" creationId="{B4598AEF-78F8-475E-AC7D-E8372096BAB2}"/>
          </ac:spMkLst>
        </pc:sp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1002747840" sldId="2189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1002747840" sldId="2189"/>
            <ac:spMk id="10" creationId="{B4598AEF-78F8-475E-AC7D-E8372096BAB2}"/>
          </ac:spMkLst>
        </pc:spChg>
      </pc:sldChg>
      <pc:sldChg chg="addSp delSp modSp mod">
        <pc:chgData name="Aurelien Domont" userId="6da7715ce44349b3" providerId="LiveId" clId="{4B4C3012-157D-4E70-9450-C4952F9A74AA}" dt="2021-07-09T03:51:59.876" v="372" actId="20577"/>
        <pc:sldMkLst>
          <pc:docMk/>
          <pc:sldMk cId="2349979947" sldId="2190"/>
        </pc:sldMkLst>
        <pc:spChg chg="add mod">
          <ac:chgData name="Aurelien Domont" userId="6da7715ce44349b3" providerId="LiveId" clId="{4B4C3012-157D-4E70-9450-C4952F9A74AA}" dt="2021-07-09T03:51:28.273" v="319" actId="20577"/>
          <ac:spMkLst>
            <pc:docMk/>
            <pc:sldMk cId="2349979947" sldId="2190"/>
            <ac:spMk id="22" creationId="{F4DAF654-340D-4B75-B8E9-38BAB8DB34FD}"/>
          </ac:spMkLst>
        </pc:spChg>
        <pc:spChg chg="add mod">
          <ac:chgData name="Aurelien Domont" userId="6da7715ce44349b3" providerId="LiveId" clId="{4B4C3012-157D-4E70-9450-C4952F9A74AA}" dt="2021-07-09T03:50:22.857" v="289" actId="14100"/>
          <ac:spMkLst>
            <pc:docMk/>
            <pc:sldMk cId="2349979947" sldId="2190"/>
            <ac:spMk id="23" creationId="{5992F7C2-C90A-496E-BD21-743F05885307}"/>
          </ac:spMkLst>
        </pc:spChg>
        <pc:spChg chg="add mod">
          <ac:chgData name="Aurelien Domont" userId="6da7715ce44349b3" providerId="LiveId" clId="{4B4C3012-157D-4E70-9450-C4952F9A74AA}" dt="2021-07-09T03:51:41.478" v="344" actId="20577"/>
          <ac:spMkLst>
            <pc:docMk/>
            <pc:sldMk cId="2349979947" sldId="2190"/>
            <ac:spMk id="24" creationId="{045700D2-8228-44CB-B976-038E65CAE418}"/>
          </ac:spMkLst>
        </pc:spChg>
        <pc:spChg chg="add mod">
          <ac:chgData name="Aurelien Domont" userId="6da7715ce44349b3" providerId="LiveId" clId="{4B4C3012-157D-4E70-9450-C4952F9A74AA}" dt="2021-07-09T03:51:59.876" v="372" actId="20577"/>
          <ac:spMkLst>
            <pc:docMk/>
            <pc:sldMk cId="2349979947" sldId="2190"/>
            <ac:spMk id="25" creationId="{A903233A-54AD-46D4-850C-64259B5EB4D8}"/>
          </ac:spMkLst>
        </pc:sp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2" creationId="{FE9B9E94-357E-4B04-9B76-B64A2AD3319C}"/>
          </ac:picMkLst>
        </pc:pic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4" creationId="{4D3A6F3A-8786-441E-90A3-61E8C8D72553}"/>
          </ac:picMkLst>
        </pc:pic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5" creationId="{659A23D5-65DD-4CEA-855D-90A0B5E2BE2A}"/>
          </ac:picMkLst>
        </pc:pic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7" creationId="{3A1116B0-8834-4AD7-B5A9-FC56ADD00397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18" creationId="{C3BA0179-4EC8-4CB0-B9F3-382CC0868B43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19" creationId="{FC4CA3FB-F8B5-4BCC-9CC3-4C31D96FC49F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20" creationId="{6F5B41ED-29E9-43E5-A152-8BD1390D618D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21" creationId="{F022D1B4-33F9-4D0F-B431-47A0A627DD59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6" creationId="{38407265-3265-4C18-8AA6-70950F7316F0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7" creationId="{B30E59E1-CE9C-4FDB-9671-22383CA60698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8" creationId="{2C6FAC14-187B-4417-95BE-79C063CA384A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9" creationId="{623787E6-7A4B-4B4C-8813-D49ABF4096F6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0" creationId="{7BE26EE6-02D0-4299-8D40-D5FE747FC6EC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1" creationId="{01772D02-2A23-4F53-A80C-CFCBAA14DE60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2" creationId="{736A7551-1054-4CFB-A286-4083A79078E0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3" creationId="{3886DD78-4C41-40C9-8DAB-58415E8DB15A}"/>
          </ac:picMkLst>
        </pc:picChg>
      </pc:sldChg>
      <pc:sldChg chg="addSp delSp modSp mod">
        <pc:chgData name="Aurelien Domont" userId="6da7715ce44349b3" providerId="LiveId" clId="{4B4C3012-157D-4E70-9450-C4952F9A74AA}" dt="2021-07-09T03:54:32.861" v="525" actId="20577"/>
        <pc:sldMkLst>
          <pc:docMk/>
          <pc:sldMk cId="3340324934" sldId="2191"/>
        </pc:sldMkLst>
        <pc:spChg chg="add mod">
          <ac:chgData name="Aurelien Domont" userId="6da7715ce44349b3" providerId="LiveId" clId="{4B4C3012-157D-4E70-9450-C4952F9A74AA}" dt="2021-07-09T03:53:32.344" v="436" actId="20577"/>
          <ac:spMkLst>
            <pc:docMk/>
            <pc:sldMk cId="3340324934" sldId="2191"/>
            <ac:spMk id="21" creationId="{75061E4F-FB3F-4F06-9960-64F132A3A8D1}"/>
          </ac:spMkLst>
        </pc:spChg>
        <pc:spChg chg="add mod">
          <ac:chgData name="Aurelien Domont" userId="6da7715ce44349b3" providerId="LiveId" clId="{4B4C3012-157D-4E70-9450-C4952F9A74AA}" dt="2021-07-09T03:54:32.861" v="525" actId="20577"/>
          <ac:spMkLst>
            <pc:docMk/>
            <pc:sldMk cId="3340324934" sldId="2191"/>
            <ac:spMk id="22" creationId="{BE5FBC9B-6CEF-4DA9-9F52-9FA051FC5284}"/>
          </ac:spMkLst>
        </pc:spChg>
        <pc:spChg chg="add mod">
          <ac:chgData name="Aurelien Domont" userId="6da7715ce44349b3" providerId="LiveId" clId="{4B4C3012-157D-4E70-9450-C4952F9A74AA}" dt="2021-07-09T03:53:44.011" v="453" actId="20577"/>
          <ac:spMkLst>
            <pc:docMk/>
            <pc:sldMk cId="3340324934" sldId="2191"/>
            <ac:spMk id="23" creationId="{F4285113-78D1-43EE-BCA0-447610636AE3}"/>
          </ac:spMkLst>
        </pc:spChg>
        <pc:spChg chg="add mod">
          <ac:chgData name="Aurelien Domont" userId="6da7715ce44349b3" providerId="LiveId" clId="{4B4C3012-157D-4E70-9450-C4952F9A74AA}" dt="2021-07-09T03:54:12.141" v="498" actId="20577"/>
          <ac:spMkLst>
            <pc:docMk/>
            <pc:sldMk cId="3340324934" sldId="2191"/>
            <ac:spMk id="24" creationId="{E8D393BA-0F9C-45C6-9A09-6B2652E3655F}"/>
          </ac:spMkLst>
        </pc:spChg>
        <pc:picChg chg="del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3" creationId="{15370C7C-145F-4349-AE96-1E50E9582145}"/>
          </ac:picMkLst>
        </pc:picChg>
        <pc:picChg chg="del mod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11" creationId="{25D5DDB8-F1BB-4113-A087-0C0A746C7EB2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4" creationId="{1B8F1F4A-CAB8-4B44-9253-6CE8E4FA1118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5" creationId="{5FE44C92-7319-41CC-B6B3-2E206B3A9A9D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7" creationId="{46323CE5-9CDD-4223-969E-B50F5D2DBB38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8" creationId="{2B4EEF77-CFFE-4C4A-9E35-B54C15B65443}"/>
          </ac:picMkLst>
        </pc:picChg>
        <pc:picChg chg="del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19" creationId="{510380BB-04DC-414E-AEA0-0A102EFB8B64}"/>
          </ac:picMkLst>
        </pc:picChg>
        <pc:picChg chg="del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20" creationId="{6A38595B-0C20-4D15-AA90-C5B669693A38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5" creationId="{991C0F3F-DC96-4D75-A8E5-1828A799E29D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6" creationId="{6AAE44A4-591A-4C94-9FB2-433CDDFA6C03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7" creationId="{4C96D69A-8109-4F2B-8848-F0AC20DB52D1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8" creationId="{EDB39F5E-6638-42AD-AAA7-9ED4C622426E}"/>
          </ac:picMkLst>
        </pc:picChg>
      </pc:sldChg>
      <pc:sldChg chg="add del">
        <pc:chgData name="Aurelien Domont" userId="6da7715ce44349b3" providerId="LiveId" clId="{4B4C3012-157D-4E70-9450-C4952F9A74AA}" dt="2021-07-09T03:54:44.127" v="526" actId="47"/>
        <pc:sldMkLst>
          <pc:docMk/>
          <pc:sldMk cId="1278776622" sldId="2192"/>
        </pc:sldMkLst>
      </pc:sldChg>
      <pc:sldChg chg="add del">
        <pc:chgData name="Aurelien Domont" userId="6da7715ce44349b3" providerId="LiveId" clId="{4B4C3012-157D-4E70-9450-C4952F9A74AA}" dt="2021-07-09T03:52:13.186" v="373" actId="47"/>
        <pc:sldMkLst>
          <pc:docMk/>
          <pc:sldMk cId="2696631081" sldId="2192"/>
        </pc:sldMkLst>
      </pc:sldChg>
    </pc:docChg>
  </pc:docChgLst>
  <pc:docChgLst>
    <pc:chgData name="Aurelien Domont" userId="6da7715ce44349b3" providerId="LiveId" clId="{6CE89F99-4A3D-4F12-85D2-AE7076FA1D98}"/>
    <pc:docChg chg="modSld">
      <pc:chgData name="Aurelien Domont" userId="6da7715ce44349b3" providerId="LiveId" clId="{6CE89F99-4A3D-4F12-85D2-AE7076FA1D98}" dt="2022-10-20T02:48:21.747" v="24"/>
      <pc:docMkLst>
        <pc:docMk/>
      </pc:docMkLst>
      <pc:sldChg chg="modSp mod">
        <pc:chgData name="Aurelien Domont" userId="6da7715ce44349b3" providerId="LiveId" clId="{6CE89F99-4A3D-4F12-85D2-AE7076FA1D98}" dt="2022-10-20T02:48:21.747" v="24"/>
        <pc:sldMkLst>
          <pc:docMk/>
          <pc:sldMk cId="3615428360" sldId="2196"/>
        </pc:sldMkLst>
        <pc:spChg chg="mod">
          <ac:chgData name="Aurelien Domont" userId="6da7715ce44349b3" providerId="LiveId" clId="{6CE89F99-4A3D-4F12-85D2-AE7076FA1D98}" dt="2022-10-20T02:48:15.008" v="23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6CE89F99-4A3D-4F12-85D2-AE7076FA1D98}" dt="2022-10-20T02:47:44.923" v="22" actId="20577"/>
          <ac:spMkLst>
            <pc:docMk/>
            <pc:sldMk cId="3615428360" sldId="2196"/>
            <ac:spMk id="16" creationId="{6C2BB713-9637-4B9B-938F-E9768876782A}"/>
          </ac:spMkLst>
        </pc:spChg>
        <pc:picChg chg="mod">
          <ac:chgData name="Aurelien Domont" userId="6da7715ce44349b3" providerId="LiveId" clId="{6CE89F99-4A3D-4F12-85D2-AE7076FA1D98}" dt="2022-10-20T02:48:21.747" v="24"/>
          <ac:picMkLst>
            <pc:docMk/>
            <pc:sldMk cId="3615428360" sldId="2196"/>
            <ac:picMk id="10" creationId="{ACAF5940-CF8F-C069-6103-8D28CAAF05A0}"/>
          </ac:picMkLst>
        </pc:picChg>
      </pc:sldChg>
    </pc:docChg>
  </pc:docChgLst>
  <pc:docChgLst>
    <pc:chgData name="Aurelien Domont" userId="6da7715ce44349b3" providerId="LiveId" clId="{5BE3AA4E-ECC0-44D9-912C-B6279EB0A443}"/>
    <pc:docChg chg="custSel modSld">
      <pc:chgData name="Aurelien Domont" userId="6da7715ce44349b3" providerId="LiveId" clId="{5BE3AA4E-ECC0-44D9-912C-B6279EB0A443}" dt="2022-10-20T02:52:21.274" v="24"/>
      <pc:docMkLst>
        <pc:docMk/>
      </pc:docMkLst>
      <pc:sldChg chg="addSp delSp modSp mod">
        <pc:chgData name="Aurelien Domont" userId="6da7715ce44349b3" providerId="LiveId" clId="{5BE3AA4E-ECC0-44D9-912C-B6279EB0A443}" dt="2022-10-20T02:52:21.274" v="24"/>
        <pc:sldMkLst>
          <pc:docMk/>
          <pc:sldMk cId="3615428360" sldId="2196"/>
        </pc:sldMkLst>
        <pc:spChg chg="mod">
          <ac:chgData name="Aurelien Domont" userId="6da7715ce44349b3" providerId="LiveId" clId="{5BE3AA4E-ECC0-44D9-912C-B6279EB0A443}" dt="2022-10-20T02:50:34.839" v="0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5BE3AA4E-ECC0-44D9-912C-B6279EB0A443}" dt="2022-10-20T02:50:50.465" v="17" actId="20577"/>
          <ac:spMkLst>
            <pc:docMk/>
            <pc:sldMk cId="3615428360" sldId="2196"/>
            <ac:spMk id="16" creationId="{6C2BB713-9637-4B9B-938F-E9768876782A}"/>
          </ac:spMkLst>
        </pc:spChg>
        <pc:picChg chg="add mod">
          <ac:chgData name="Aurelien Domont" userId="6da7715ce44349b3" providerId="LiveId" clId="{5BE3AA4E-ECC0-44D9-912C-B6279EB0A443}" dt="2022-10-20T02:52:21.274" v="24"/>
          <ac:picMkLst>
            <pc:docMk/>
            <pc:sldMk cId="3615428360" sldId="2196"/>
            <ac:picMk id="3" creationId="{4C7F04DA-2490-6759-18C8-DB838774D30D}"/>
          </ac:picMkLst>
        </pc:picChg>
        <pc:picChg chg="del mod">
          <ac:chgData name="Aurelien Domont" userId="6da7715ce44349b3" providerId="LiveId" clId="{5BE3AA4E-ECC0-44D9-912C-B6279EB0A443}" dt="2022-10-20T02:51:59.876" v="18" actId="478"/>
          <ac:picMkLst>
            <pc:docMk/>
            <pc:sldMk cId="3615428360" sldId="2196"/>
            <ac:picMk id="10" creationId="{ACAF5940-CF8F-C069-6103-8D28CAAF05A0}"/>
          </ac:picMkLst>
        </pc:picChg>
      </pc:sldChg>
    </pc:docChg>
  </pc:docChgLst>
  <pc:docChgLst>
    <pc:chgData name="Aurelien Domont" userId="6da7715ce44349b3" providerId="LiveId" clId="{B5E3E4B9-B753-4CD4-9C55-1054A4F7AC5B}"/>
    <pc:docChg chg="undo custSel modSld">
      <pc:chgData name="Aurelien Domont" userId="6da7715ce44349b3" providerId="LiveId" clId="{B5E3E4B9-B753-4CD4-9C55-1054A4F7AC5B}" dt="2021-04-29T06:44:16.192" v="31" actId="113"/>
      <pc:docMkLst>
        <pc:docMk/>
      </pc:docMkLst>
      <pc:sldChg chg="modSp mod">
        <pc:chgData name="Aurelien Domont" userId="6da7715ce44349b3" providerId="LiveId" clId="{B5E3E4B9-B753-4CD4-9C55-1054A4F7AC5B}" dt="2021-04-29T06:36:09.543" v="16" actId="113"/>
        <pc:sldMkLst>
          <pc:docMk/>
          <pc:sldMk cId="317099162" sldId="1749"/>
        </pc:sldMkLst>
        <pc:spChg chg="mod">
          <ac:chgData name="Aurelien Domont" userId="6da7715ce44349b3" providerId="LiveId" clId="{B5E3E4B9-B753-4CD4-9C55-1054A4F7AC5B}" dt="2021-04-29T06:36:09.543" v="16" actId="113"/>
          <ac:spMkLst>
            <pc:docMk/>
            <pc:sldMk cId="317099162" sldId="1749"/>
            <ac:spMk id="14" creationId="{58BC295C-D6CC-4682-B176-A5677EB177D0}"/>
          </ac:spMkLst>
        </pc:spChg>
      </pc:sldChg>
      <pc:sldChg chg="modSp mod">
        <pc:chgData name="Aurelien Domont" userId="6da7715ce44349b3" providerId="LiveId" clId="{B5E3E4B9-B753-4CD4-9C55-1054A4F7AC5B}" dt="2021-04-29T06:39:27.942" v="17" actId="120"/>
        <pc:sldMkLst>
          <pc:docMk/>
          <pc:sldMk cId="235018652" sldId="1927"/>
        </pc:sldMkLst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" creationId="{CE2529A3-BA97-486F-9E02-8DFAAA7D8D38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22" creationId="{4C65153E-2DC5-4549-9BEA-3CBB7CE57BAC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24" creationId="{57B39C43-1692-4644-9018-578041BDAC00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5" creationId="{68CAC4AC-FC9D-495D-A867-A1F7DFAB5EE5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7" creationId="{8DD3C8A5-5216-47D7-8F63-A1BED34F8035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9" creationId="{99497429-E6FA-47CD-BD12-B83ECF06216C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42" creationId="{8AB09FC8-C5F5-4297-AD26-D8245375169B}"/>
          </ac:spMkLst>
        </pc:spChg>
      </pc:sldChg>
      <pc:sldChg chg="modSp mod">
        <pc:chgData name="Aurelien Domont" userId="6da7715ce44349b3" providerId="LiveId" clId="{B5E3E4B9-B753-4CD4-9C55-1054A4F7AC5B}" dt="2021-04-29T06:39:45.301" v="18" actId="120"/>
        <pc:sldMkLst>
          <pc:docMk/>
          <pc:sldMk cId="784211076" sldId="1931"/>
        </pc:sldMkLst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22" creationId="{EE78CAB5-920F-4474-9507-223D946A1013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24" creationId="{E8E79278-3E47-491E-80C4-2745363AB20D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5" creationId="{AE266B61-A26F-4864-A119-B73D8D3EEFE3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7" creationId="{473EDCDD-9075-40AB-A47F-8FF455A2E444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9" creationId="{25B98639-8371-4BB9-9FA0-6591943AEA62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1" creationId="{60047BC4-494E-465F-BB2C-37A58D27A895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3" creationId="{067232F5-DCB9-418C-AF5E-20A9ADF37A95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5" creationId="{3C667C76-9848-4E10-980B-6994068638EA}"/>
          </ac:spMkLst>
        </pc:spChg>
      </pc:sldChg>
      <pc:sldChg chg="modSp mod">
        <pc:chgData name="Aurelien Domont" userId="6da7715ce44349b3" providerId="LiveId" clId="{B5E3E4B9-B753-4CD4-9C55-1054A4F7AC5B}" dt="2021-04-29T06:41:18.974" v="20" actId="113"/>
        <pc:sldMkLst>
          <pc:docMk/>
          <pc:sldMk cId="1403188377" sldId="1942"/>
        </pc:sldMkLst>
        <pc:spChg chg="mod">
          <ac:chgData name="Aurelien Domont" userId="6da7715ce44349b3" providerId="LiveId" clId="{B5E3E4B9-B753-4CD4-9C55-1054A4F7AC5B}" dt="2021-04-29T06:41:18.974" v="20" actId="113"/>
          <ac:spMkLst>
            <pc:docMk/>
            <pc:sldMk cId="1403188377" sldId="1942"/>
            <ac:spMk id="7" creationId="{2BB58BFC-0D2E-4A7A-8857-596DF7877E0D}"/>
          </ac:spMkLst>
        </pc:spChg>
      </pc:sldChg>
      <pc:sldChg chg="modSp mod">
        <pc:chgData name="Aurelien Domont" userId="6da7715ce44349b3" providerId="LiveId" clId="{B5E3E4B9-B753-4CD4-9C55-1054A4F7AC5B}" dt="2021-04-29T06:43:35.362" v="22" actId="113"/>
        <pc:sldMkLst>
          <pc:docMk/>
          <pc:sldMk cId="2434730998" sldId="1964"/>
        </pc:sldMkLst>
        <pc:spChg chg="mod">
          <ac:chgData name="Aurelien Domont" userId="6da7715ce44349b3" providerId="LiveId" clId="{B5E3E4B9-B753-4CD4-9C55-1054A4F7AC5B}" dt="2021-04-29T06:43:35.362" v="22" actId="113"/>
          <ac:spMkLst>
            <pc:docMk/>
            <pc:sldMk cId="2434730998" sldId="1964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3:45.298" v="24" actId="113"/>
        <pc:sldMkLst>
          <pc:docMk/>
          <pc:sldMk cId="2118611170" sldId="1965"/>
        </pc:sldMkLst>
        <pc:spChg chg="mod">
          <ac:chgData name="Aurelien Domont" userId="6da7715ce44349b3" providerId="LiveId" clId="{B5E3E4B9-B753-4CD4-9C55-1054A4F7AC5B}" dt="2021-04-29T06:43:45.298" v="24" actId="113"/>
          <ac:spMkLst>
            <pc:docMk/>
            <pc:sldMk cId="2118611170" sldId="1965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3:52.504" v="26" actId="113"/>
        <pc:sldMkLst>
          <pc:docMk/>
          <pc:sldMk cId="708328687" sldId="1966"/>
        </pc:sldMkLst>
        <pc:spChg chg="mod">
          <ac:chgData name="Aurelien Domont" userId="6da7715ce44349b3" providerId="LiveId" clId="{B5E3E4B9-B753-4CD4-9C55-1054A4F7AC5B}" dt="2021-04-29T06:43:52.504" v="26" actId="113"/>
          <ac:spMkLst>
            <pc:docMk/>
            <pc:sldMk cId="708328687" sldId="1966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4:10.506" v="29" actId="33524"/>
        <pc:sldMkLst>
          <pc:docMk/>
          <pc:sldMk cId="3081941897" sldId="1967"/>
        </pc:sldMkLst>
        <pc:spChg chg="mod">
          <ac:chgData name="Aurelien Domont" userId="6da7715ce44349b3" providerId="LiveId" clId="{B5E3E4B9-B753-4CD4-9C55-1054A4F7AC5B}" dt="2021-04-29T06:44:02.469" v="28" actId="113"/>
          <ac:spMkLst>
            <pc:docMk/>
            <pc:sldMk cId="3081941897" sldId="1967"/>
            <ac:spMk id="29" creationId="{E7057E1C-0379-4BF8-AFA9-1ADE9F123A50}"/>
          </ac:spMkLst>
        </pc:spChg>
        <pc:spChg chg="mod">
          <ac:chgData name="Aurelien Domont" userId="6da7715ce44349b3" providerId="LiveId" clId="{B5E3E4B9-B753-4CD4-9C55-1054A4F7AC5B}" dt="2021-04-29T06:44:10.506" v="29" actId="33524"/>
          <ac:spMkLst>
            <pc:docMk/>
            <pc:sldMk cId="3081941897" sldId="1967"/>
            <ac:spMk id="31" creationId="{12BD58FF-B47F-4554-8B05-4AA19AC62680}"/>
          </ac:spMkLst>
        </pc:spChg>
      </pc:sldChg>
      <pc:sldChg chg="modSp mod">
        <pc:chgData name="Aurelien Domont" userId="6da7715ce44349b3" providerId="LiveId" clId="{B5E3E4B9-B753-4CD4-9C55-1054A4F7AC5B}" dt="2021-04-29T06:44:16.192" v="31" actId="113"/>
        <pc:sldMkLst>
          <pc:docMk/>
          <pc:sldMk cId="3440858440" sldId="1968"/>
        </pc:sldMkLst>
        <pc:spChg chg="mod">
          <ac:chgData name="Aurelien Domont" userId="6da7715ce44349b3" providerId="LiveId" clId="{B5E3E4B9-B753-4CD4-9C55-1054A4F7AC5B}" dt="2021-04-29T06:44:16.192" v="31" actId="113"/>
          <ac:spMkLst>
            <pc:docMk/>
            <pc:sldMk cId="3440858440" sldId="1968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7T06:35:29.412" v="14" actId="14100"/>
        <pc:sldMkLst>
          <pc:docMk/>
          <pc:sldMk cId="3954766657" sldId="1969"/>
        </pc:sldMkLst>
        <pc:spChg chg="mod">
          <ac:chgData name="Aurelien Domont" userId="6da7715ce44349b3" providerId="LiveId" clId="{B5E3E4B9-B753-4CD4-9C55-1054A4F7AC5B}" dt="2021-04-27T06:35:29.412" v="14" actId="14100"/>
          <ac:spMkLst>
            <pc:docMk/>
            <pc:sldMk cId="3954766657" sldId="1969"/>
            <ac:spMk id="23" creationId="{D0C08E85-6656-4D70-A634-B81EEB60AA99}"/>
          </ac:spMkLst>
        </pc:spChg>
        <pc:spChg chg="mod">
          <ac:chgData name="Aurelien Domont" userId="6da7715ce44349b3" providerId="LiveId" clId="{B5E3E4B9-B753-4CD4-9C55-1054A4F7AC5B}" dt="2021-04-27T06:35:29.412" v="14" actId="14100"/>
          <ac:spMkLst>
            <pc:docMk/>
            <pc:sldMk cId="3954766657" sldId="1969"/>
            <ac:spMk id="24" creationId="{E2A79F9E-459F-41E7-9331-768A9D1F23AD}"/>
          </ac:spMkLst>
        </pc:spChg>
      </pc:sldChg>
    </pc:docChg>
  </pc:docChgLst>
  <pc:docChgLst>
    <pc:chgData name="Aurelien Domont" userId="6da7715ce44349b3" providerId="LiveId" clId="{B98E20E2-7193-4695-BBC3-2E4ADB997CFA}"/>
    <pc:docChg chg="undo custSel addSld modSld">
      <pc:chgData name="Aurelien Domont" userId="6da7715ce44349b3" providerId="LiveId" clId="{B98E20E2-7193-4695-BBC3-2E4ADB997CFA}" dt="2021-05-03T07:57:58.124" v="648" actId="20577"/>
      <pc:docMkLst>
        <pc:docMk/>
      </pc:docMkLst>
      <pc:sldChg chg="modSp mod">
        <pc:chgData name="Aurelien Domont" userId="6da7715ce44349b3" providerId="LiveId" clId="{B98E20E2-7193-4695-BBC3-2E4ADB997CFA}" dt="2021-05-03T07:49:35.017" v="534" actId="20577"/>
        <pc:sldMkLst>
          <pc:docMk/>
          <pc:sldMk cId="3131901387" sldId="256"/>
        </pc:sldMkLst>
        <pc:spChg chg="mod">
          <ac:chgData name="Aurelien Domont" userId="6da7715ce44349b3" providerId="LiveId" clId="{B98E20E2-7193-4695-BBC3-2E4ADB997CFA}" dt="2021-05-03T07:49:35.017" v="534" actId="20577"/>
          <ac:spMkLst>
            <pc:docMk/>
            <pc:sldMk cId="3131901387" sldId="256"/>
            <ac:spMk id="2" creationId="{5261080C-C60C-4746-B6B1-A9A4FFA86785}"/>
          </ac:spMkLst>
        </pc:spChg>
        <pc:spChg chg="mod">
          <ac:chgData name="Aurelien Domont" userId="6da7715ce44349b3" providerId="LiveId" clId="{B98E20E2-7193-4695-BBC3-2E4ADB997CFA}" dt="2021-05-03T07:49:20.606" v="520" actId="20577"/>
          <ac:spMkLst>
            <pc:docMk/>
            <pc:sldMk cId="3131901387" sldId="256"/>
            <ac:spMk id="3" creationId="{D781CD62-85AB-400E-A66C-9594AAD807B4}"/>
          </ac:spMkLst>
        </pc:spChg>
      </pc:sldChg>
      <pc:sldChg chg="delSp modSp mod">
        <pc:chgData name="Aurelien Domont" userId="6da7715ce44349b3" providerId="LiveId" clId="{B98E20E2-7193-4695-BBC3-2E4ADB997CFA}" dt="2021-05-03T07:57:58.124" v="648" actId="20577"/>
        <pc:sldMkLst>
          <pc:docMk/>
          <pc:sldMk cId="317099162" sldId="1749"/>
        </pc:sldMkLst>
        <pc:spChg chg="del mod">
          <ac:chgData name="Aurelien Domont" userId="6da7715ce44349b3" providerId="LiveId" clId="{B98E20E2-7193-4695-BBC3-2E4ADB997CFA}" dt="2021-05-03T07:57:25.936" v="633" actId="478"/>
          <ac:spMkLst>
            <pc:docMk/>
            <pc:sldMk cId="317099162" sldId="1749"/>
            <ac:spMk id="3" creationId="{CE2529A3-BA97-486F-9E02-8DFAAA7D8D38}"/>
          </ac:spMkLst>
        </pc:spChg>
        <pc:spChg chg="mod">
          <ac:chgData name="Aurelien Domont" userId="6da7715ce44349b3" providerId="LiveId" clId="{B98E20E2-7193-4695-BBC3-2E4ADB997CFA}" dt="2021-05-03T07:57:58.124" v="648" actId="20577"/>
          <ac:spMkLst>
            <pc:docMk/>
            <pc:sldMk cId="317099162" sldId="1749"/>
            <ac:spMk id="14" creationId="{58BC295C-D6CC-4682-B176-A5677EB177D0}"/>
          </ac:spMkLst>
        </pc:spChg>
        <pc:spChg chg="del mod">
          <ac:chgData name="Aurelien Domont" userId="6da7715ce44349b3" providerId="LiveId" clId="{B98E20E2-7193-4695-BBC3-2E4ADB997CFA}" dt="2021-05-03T07:57:02.367" v="625" actId="478"/>
          <ac:spMkLst>
            <pc:docMk/>
            <pc:sldMk cId="317099162" sldId="1749"/>
            <ac:spMk id="18" creationId="{EAAFB484-D4B1-4321-B87D-DF7A9C1424D7}"/>
          </ac:spMkLst>
        </pc:spChg>
        <pc:spChg chg="del mod">
          <ac:chgData name="Aurelien Domont" userId="6da7715ce44349b3" providerId="LiveId" clId="{B98E20E2-7193-4695-BBC3-2E4ADB997CFA}" dt="2021-05-03T07:57:17.313" v="630" actId="478"/>
          <ac:spMkLst>
            <pc:docMk/>
            <pc:sldMk cId="317099162" sldId="1749"/>
            <ac:spMk id="19" creationId="{AB92F0CF-C046-47E4-A35B-DB823BC023B7}"/>
          </ac:spMkLst>
        </pc:spChg>
        <pc:spChg chg="del mod">
          <ac:chgData name="Aurelien Domont" userId="6da7715ce44349b3" providerId="LiveId" clId="{B98E20E2-7193-4695-BBC3-2E4ADB997CFA}" dt="2021-05-03T07:57:17.313" v="630" actId="478"/>
          <ac:spMkLst>
            <pc:docMk/>
            <pc:sldMk cId="317099162" sldId="1749"/>
            <ac:spMk id="25" creationId="{A9F1A3B9-9DDA-4C19-98C2-3661E3450D3D}"/>
          </ac:spMkLst>
        </pc:spChg>
        <pc:spChg chg="del mod">
          <ac:chgData name="Aurelien Domont" userId="6da7715ce44349b3" providerId="LiveId" clId="{B98E20E2-7193-4695-BBC3-2E4ADB997CFA}" dt="2021-05-03T07:57:25.936" v="633" actId="478"/>
          <ac:spMkLst>
            <pc:docMk/>
            <pc:sldMk cId="317099162" sldId="1749"/>
            <ac:spMk id="26" creationId="{C94AD6D8-1BE8-4E3A-8451-EAEBD6603513}"/>
          </ac:spMkLst>
        </pc:spChg>
      </pc:sldChg>
      <pc:sldChg chg="delSp modSp mod">
        <pc:chgData name="Aurelien Domont" userId="6da7715ce44349b3" providerId="LiveId" clId="{B98E20E2-7193-4695-BBC3-2E4ADB997CFA}" dt="2021-05-03T07:54:29.821" v="607" actId="14100"/>
        <pc:sldMkLst>
          <pc:docMk/>
          <pc:sldMk cId="1659127470" sldId="1924"/>
        </pc:sldMkLst>
        <pc:spChg chg="mod">
          <ac:chgData name="Aurelien Domont" userId="6da7715ce44349b3" providerId="LiveId" clId="{B98E20E2-7193-4695-BBC3-2E4ADB997CFA}" dt="2021-05-03T07:54:29.821" v="607" actId="14100"/>
          <ac:spMkLst>
            <pc:docMk/>
            <pc:sldMk cId="1659127470" sldId="1924"/>
            <ac:spMk id="14" creationId="{493F826D-CCF6-440C-BFA4-C3799A3ED755}"/>
          </ac:spMkLst>
        </pc:spChg>
        <pc:spChg chg="mod">
          <ac:chgData name="Aurelien Domont" userId="6da7715ce44349b3" providerId="LiveId" clId="{B98E20E2-7193-4695-BBC3-2E4ADB997CFA}" dt="2021-05-03T07:54:15.724" v="605" actId="255"/>
          <ac:spMkLst>
            <pc:docMk/>
            <pc:sldMk cId="1659127470" sldId="1924"/>
            <ac:spMk id="18" creationId="{0BCD4164-FFCE-447D-8269-E5891A7FEF0D}"/>
          </ac:spMkLst>
        </pc:spChg>
        <pc:spChg chg="mod">
          <ac:chgData name="Aurelien Domont" userId="6da7715ce44349b3" providerId="LiveId" clId="{B98E20E2-7193-4695-BBC3-2E4ADB997CFA}" dt="2021-05-03T07:54:15.724" v="605" actId="255"/>
          <ac:spMkLst>
            <pc:docMk/>
            <pc:sldMk cId="1659127470" sldId="1924"/>
            <ac:spMk id="19" creationId="{554EE1B4-E11D-4B37-9F78-B5B5FA8738AA}"/>
          </ac:spMkLst>
        </pc:spChg>
        <pc:spChg chg="del">
          <ac:chgData name="Aurelien Domont" userId="6da7715ce44349b3" providerId="LiveId" clId="{B98E20E2-7193-4695-BBC3-2E4ADB997CFA}" dt="2021-05-03T06:45:17.157" v="181" actId="478"/>
          <ac:spMkLst>
            <pc:docMk/>
            <pc:sldMk cId="1659127470" sldId="1924"/>
            <ac:spMk id="28" creationId="{B98D4813-1BBC-432F-A4FC-CD15CA814555}"/>
          </ac:spMkLst>
        </pc:spChg>
        <pc:spChg chg="del mod">
          <ac:chgData name="Aurelien Domont" userId="6da7715ce44349b3" providerId="LiveId" clId="{B98E20E2-7193-4695-BBC3-2E4ADB997CFA}" dt="2021-05-03T07:05:25.156" v="338" actId="478"/>
          <ac:spMkLst>
            <pc:docMk/>
            <pc:sldMk cId="1659127470" sldId="1924"/>
            <ac:spMk id="29" creationId="{FB9873AC-E821-49A3-8801-DC54DA634D08}"/>
          </ac:spMkLst>
        </pc:spChg>
        <pc:spChg chg="del mod">
          <ac:chgData name="Aurelien Domont" userId="6da7715ce44349b3" providerId="LiveId" clId="{B98E20E2-7193-4695-BBC3-2E4ADB997CFA}" dt="2021-05-03T07:05:25.156" v="338" actId="478"/>
          <ac:spMkLst>
            <pc:docMk/>
            <pc:sldMk cId="1659127470" sldId="1924"/>
            <ac:spMk id="30" creationId="{8D7269D8-71D9-4DE6-B8FC-C607D35189C4}"/>
          </ac:spMkLst>
        </pc:spChg>
        <pc:spChg chg="del">
          <ac:chgData name="Aurelien Domont" userId="6da7715ce44349b3" providerId="LiveId" clId="{B98E20E2-7193-4695-BBC3-2E4ADB997CFA}" dt="2021-05-03T06:45:17.157" v="181" actId="478"/>
          <ac:spMkLst>
            <pc:docMk/>
            <pc:sldMk cId="1659127470" sldId="1924"/>
            <ac:spMk id="31" creationId="{9F0E6C86-8F02-45BD-953C-36BE60916848}"/>
          </ac:spMkLst>
        </pc:spChg>
        <pc:spChg chg="del mod">
          <ac:chgData name="Aurelien Domont" userId="6da7715ce44349b3" providerId="LiveId" clId="{B98E20E2-7193-4695-BBC3-2E4ADB997CFA}" dt="2021-05-03T07:05:25.156" v="338" actId="478"/>
          <ac:spMkLst>
            <pc:docMk/>
            <pc:sldMk cId="1659127470" sldId="1924"/>
            <ac:spMk id="32" creationId="{5A0355AD-A126-4123-B7E5-B694A2A6E9BC}"/>
          </ac:spMkLst>
        </pc:spChg>
        <pc:spChg chg="mod">
          <ac:chgData name="Aurelien Domont" userId="6da7715ce44349b3" providerId="LiveId" clId="{B98E20E2-7193-4695-BBC3-2E4ADB997CFA}" dt="2021-05-03T07:53:14.447" v="581" actId="1036"/>
          <ac:spMkLst>
            <pc:docMk/>
            <pc:sldMk cId="1659127470" sldId="1924"/>
            <ac:spMk id="34" creationId="{E2BDE0B8-90AF-4DE7-A71B-FE78ADE30B55}"/>
          </ac:spMkLst>
        </pc:spChg>
        <pc:spChg chg="mod">
          <ac:chgData name="Aurelien Domont" userId="6da7715ce44349b3" providerId="LiveId" clId="{B98E20E2-7193-4695-BBC3-2E4ADB997CFA}" dt="2021-05-03T07:53:14.447" v="581" actId="1036"/>
          <ac:spMkLst>
            <pc:docMk/>
            <pc:sldMk cId="1659127470" sldId="1924"/>
            <ac:spMk id="35" creationId="{1BC3B263-81C3-42AD-96C7-45AB7FFD0557}"/>
          </ac:spMkLst>
        </pc:spChg>
        <pc:spChg chg="mod">
          <ac:chgData name="Aurelien Domont" userId="6da7715ce44349b3" providerId="LiveId" clId="{B98E20E2-7193-4695-BBC3-2E4ADB997CFA}" dt="2021-05-03T07:53:14.447" v="581" actId="1036"/>
          <ac:spMkLst>
            <pc:docMk/>
            <pc:sldMk cId="1659127470" sldId="1924"/>
            <ac:spMk id="36" creationId="{DEACEA99-9E9A-408A-9277-86EFC1C60A69}"/>
          </ac:spMkLst>
        </pc:spChg>
        <pc:cxnChg chg="mod">
          <ac:chgData name="Aurelien Domont" userId="6da7715ce44349b3" providerId="LiveId" clId="{B98E20E2-7193-4695-BBC3-2E4ADB997CFA}" dt="2021-05-03T07:53:14.447" v="581" actId="1036"/>
          <ac:cxnSpMkLst>
            <pc:docMk/>
            <pc:sldMk cId="1659127470" sldId="1924"/>
            <ac:cxnSpMk id="6" creationId="{91E4FFAB-FF4F-40BB-B034-751A14BFD071}"/>
          </ac:cxnSpMkLst>
        </pc:cxnChg>
        <pc:cxnChg chg="mod">
          <ac:chgData name="Aurelien Domont" userId="6da7715ce44349b3" providerId="LiveId" clId="{B98E20E2-7193-4695-BBC3-2E4ADB997CFA}" dt="2021-05-03T07:53:14.447" v="581" actId="1036"/>
          <ac:cxnSpMkLst>
            <pc:docMk/>
            <pc:sldMk cId="1659127470" sldId="1924"/>
            <ac:cxnSpMk id="33" creationId="{3B31C624-A379-4A7C-8695-3B2B901C5E36}"/>
          </ac:cxnSpMkLst>
        </pc:cxnChg>
      </pc:sldChg>
      <pc:sldChg chg="add">
        <pc:chgData name="Aurelien Domont" userId="6da7715ce44349b3" providerId="LiveId" clId="{B98E20E2-7193-4695-BBC3-2E4ADB997CFA}" dt="2021-05-03T06:22:27.066" v="0"/>
        <pc:sldMkLst>
          <pc:docMk/>
          <pc:sldMk cId="3518638678" sldId="2030"/>
        </pc:sldMkLst>
      </pc:sldChg>
      <pc:sldChg chg="add">
        <pc:chgData name="Aurelien Domont" userId="6da7715ce44349b3" providerId="LiveId" clId="{B98E20E2-7193-4695-BBC3-2E4ADB997CFA}" dt="2021-05-03T06:40:47.570" v="60"/>
        <pc:sldMkLst>
          <pc:docMk/>
          <pc:sldMk cId="3867219056" sldId="2031"/>
        </pc:sldMkLst>
      </pc:sldChg>
      <pc:sldChg chg="modSp add mod">
        <pc:chgData name="Aurelien Domont" userId="6da7715ce44349b3" providerId="LiveId" clId="{B98E20E2-7193-4695-BBC3-2E4ADB997CFA}" dt="2021-05-03T06:43:47.456" v="62" actId="207"/>
        <pc:sldMkLst>
          <pc:docMk/>
          <pc:sldMk cId="2964978532" sldId="2032"/>
        </pc:sldMkLst>
        <pc:spChg chg="mod">
          <ac:chgData name="Aurelien Domont" userId="6da7715ce44349b3" providerId="LiveId" clId="{B98E20E2-7193-4695-BBC3-2E4ADB997CFA}" dt="2021-05-03T06:43:47.456" v="62" actId="207"/>
          <ac:spMkLst>
            <pc:docMk/>
            <pc:sldMk cId="2964978532" sldId="2032"/>
            <ac:spMk id="2" creationId="{47EAB931-197A-40BB-B426-D6D65C61BAA2}"/>
          </ac:spMkLst>
        </pc:spChg>
      </pc:sldChg>
      <pc:sldChg chg="add">
        <pc:chgData name="Aurelien Domont" userId="6da7715ce44349b3" providerId="LiveId" clId="{B98E20E2-7193-4695-BBC3-2E4ADB997CFA}" dt="2021-05-03T07:56:59.029" v="624"/>
        <pc:sldMkLst>
          <pc:docMk/>
          <pc:sldMk cId="1692242364" sldId="2033"/>
        </pc:sldMkLst>
      </pc:sldChg>
    </pc:docChg>
  </pc:docChgLst>
  <pc:docChgLst>
    <pc:chgData name="Aurelien Domont" userId="6da7715ce44349b3" providerId="LiveId" clId="{D93499D3-5244-4981-8662-DBF0A3B69654}"/>
    <pc:docChg chg="custSel modSld">
      <pc:chgData name="Aurelien Domont" userId="6da7715ce44349b3" providerId="LiveId" clId="{D93499D3-5244-4981-8662-DBF0A3B69654}" dt="2022-10-20T02:59:38.650" v="8"/>
      <pc:docMkLst>
        <pc:docMk/>
      </pc:docMkLst>
      <pc:sldChg chg="addSp delSp modSp mod">
        <pc:chgData name="Aurelien Domont" userId="6da7715ce44349b3" providerId="LiveId" clId="{D93499D3-5244-4981-8662-DBF0A3B69654}" dt="2022-10-20T02:59:38.650" v="8"/>
        <pc:sldMkLst>
          <pc:docMk/>
          <pc:sldMk cId="3615428360" sldId="2196"/>
        </pc:sldMkLst>
        <pc:spChg chg="mod">
          <ac:chgData name="Aurelien Domont" userId="6da7715ce44349b3" providerId="LiveId" clId="{D93499D3-5244-4981-8662-DBF0A3B69654}" dt="2022-10-20T02:59:30.131" v="7"/>
          <ac:spMkLst>
            <pc:docMk/>
            <pc:sldMk cId="3615428360" sldId="2196"/>
            <ac:spMk id="6" creationId="{CCC33B26-1C22-17EB-3C48-B3B33263A190}"/>
          </ac:spMkLst>
        </pc:spChg>
        <pc:picChg chg="add mod">
          <ac:chgData name="Aurelien Domont" userId="6da7715ce44349b3" providerId="LiveId" clId="{D93499D3-5244-4981-8662-DBF0A3B69654}" dt="2022-10-20T02:59:38.650" v="8"/>
          <ac:picMkLst>
            <pc:docMk/>
            <pc:sldMk cId="3615428360" sldId="2196"/>
            <ac:picMk id="3" creationId="{D42FC45F-3F27-32AC-2822-6603D6364BBD}"/>
          </ac:picMkLst>
        </pc:picChg>
        <pc:picChg chg="del">
          <ac:chgData name="Aurelien Domont" userId="6da7715ce44349b3" providerId="LiveId" clId="{D93499D3-5244-4981-8662-DBF0A3B69654}" dt="2022-10-20T02:59:04.642" v="0" actId="478"/>
          <ac:picMkLst>
            <pc:docMk/>
            <pc:sldMk cId="3615428360" sldId="2196"/>
            <ac:picMk id="4" creationId="{971E28F8-6FE7-9796-82F9-181468BD12E0}"/>
          </ac:picMkLst>
        </pc:picChg>
      </pc:sldChg>
    </pc:docChg>
  </pc:docChgLst>
  <pc:docChgLst>
    <pc:chgData name="Aurelien Domont" userId="6da7715ce44349b3" providerId="LiveId" clId="{11A41AEF-99CB-47F4-A016-759256902834}"/>
    <pc:docChg chg="undo custSel addSld delSld modSld sldOrd">
      <pc:chgData name="Aurelien Domont" userId="6da7715ce44349b3" providerId="LiveId" clId="{11A41AEF-99CB-47F4-A016-759256902834}" dt="2022-09-27T06:55:16.021" v="2634" actId="1038"/>
      <pc:docMkLst>
        <pc:docMk/>
      </pc:docMkLst>
      <pc:sldChg chg="ord">
        <pc:chgData name="Aurelien Domont" userId="6da7715ce44349b3" providerId="LiveId" clId="{11A41AEF-99CB-47F4-A016-759256902834}" dt="2022-09-27T04:13:07.285" v="2478"/>
        <pc:sldMkLst>
          <pc:docMk/>
          <pc:sldMk cId="1397809860" sldId="1499"/>
        </pc:sldMkLst>
      </pc:sldChg>
      <pc:sldChg chg="del">
        <pc:chgData name="Aurelien Domont" userId="6da7715ce44349b3" providerId="LiveId" clId="{11A41AEF-99CB-47F4-A016-759256902834}" dt="2022-09-27T04:11:02.308" v="2466" actId="47"/>
        <pc:sldMkLst>
          <pc:docMk/>
          <pc:sldMk cId="3155553022" sldId="1609"/>
        </pc:sldMkLst>
      </pc:sldChg>
      <pc:sldChg chg="ord">
        <pc:chgData name="Aurelien Domont" userId="6da7715ce44349b3" providerId="LiveId" clId="{11A41AEF-99CB-47F4-A016-759256902834}" dt="2022-09-27T04:13:07.285" v="2478"/>
        <pc:sldMkLst>
          <pc:docMk/>
          <pc:sldMk cId="2419878592" sldId="1628"/>
        </pc:sldMkLst>
      </pc:sldChg>
      <pc:sldChg chg="add">
        <pc:chgData name="Aurelien Domont" userId="6da7715ce44349b3" providerId="LiveId" clId="{11A41AEF-99CB-47F4-A016-759256902834}" dt="2022-09-27T04:10:49.150" v="2465"/>
        <pc:sldMkLst>
          <pc:docMk/>
          <pc:sldMk cId="1977292873" sldId="1642"/>
        </pc:sldMkLst>
      </pc:sldChg>
      <pc:sldChg chg="del">
        <pc:chgData name="Aurelien Domont" userId="6da7715ce44349b3" providerId="LiveId" clId="{11A41AEF-99CB-47F4-A016-759256902834}" dt="2022-09-27T04:11:06.161" v="2468" actId="47"/>
        <pc:sldMkLst>
          <pc:docMk/>
          <pc:sldMk cId="3868864511" sldId="1689"/>
        </pc:sldMkLst>
      </pc:sldChg>
      <pc:sldChg chg="del">
        <pc:chgData name="Aurelien Domont" userId="6da7715ce44349b3" providerId="LiveId" clId="{11A41AEF-99CB-47F4-A016-759256902834}" dt="2022-09-27T04:11:09.529" v="2469" actId="47"/>
        <pc:sldMkLst>
          <pc:docMk/>
          <pc:sldMk cId="3113701062" sldId="1690"/>
        </pc:sldMkLst>
      </pc:sldChg>
      <pc:sldChg chg="ord">
        <pc:chgData name="Aurelien Domont" userId="6da7715ce44349b3" providerId="LiveId" clId="{11A41AEF-99CB-47F4-A016-759256902834}" dt="2022-09-27T03:50:41.316" v="2373"/>
        <pc:sldMkLst>
          <pc:docMk/>
          <pc:sldMk cId="450634587" sldId="1691"/>
        </pc:sldMkLst>
      </pc:sldChg>
      <pc:sldChg chg="modSp mod">
        <pc:chgData name="Aurelien Domont" userId="6da7715ce44349b3" providerId="LiveId" clId="{11A41AEF-99CB-47F4-A016-759256902834}" dt="2022-09-23T05:23:30.558" v="1403" actId="20577"/>
        <pc:sldMkLst>
          <pc:docMk/>
          <pc:sldMk cId="1392754280" sldId="1737"/>
        </pc:sldMkLst>
        <pc:spChg chg="mod">
          <ac:chgData name="Aurelien Domont" userId="6da7715ce44349b3" providerId="LiveId" clId="{11A41AEF-99CB-47F4-A016-759256902834}" dt="2022-09-23T05:23:30.558" v="1403" actId="20577"/>
          <ac:spMkLst>
            <pc:docMk/>
            <pc:sldMk cId="1392754280" sldId="1737"/>
            <ac:spMk id="9" creationId="{D29D7605-6465-4974-B6EC-A124010967C8}"/>
          </ac:spMkLst>
        </pc:spChg>
      </pc:sldChg>
      <pc:sldChg chg="add">
        <pc:chgData name="Aurelien Domont" userId="6da7715ce44349b3" providerId="LiveId" clId="{11A41AEF-99CB-47F4-A016-759256902834}" dt="2022-09-27T04:12:51.368" v="2476"/>
        <pc:sldMkLst>
          <pc:docMk/>
          <pc:sldMk cId="1118304342" sldId="1993"/>
        </pc:sldMkLst>
      </pc:sldChg>
      <pc:sldChg chg="del">
        <pc:chgData name="Aurelien Domont" userId="6da7715ce44349b3" providerId="LiveId" clId="{11A41AEF-99CB-47F4-A016-759256902834}" dt="2022-09-27T04:12:45.740" v="2475" actId="2696"/>
        <pc:sldMkLst>
          <pc:docMk/>
          <pc:sldMk cId="1752228771" sldId="1993"/>
        </pc:sldMkLst>
      </pc:sldChg>
      <pc:sldChg chg="add">
        <pc:chgData name="Aurelien Domont" userId="6da7715ce44349b3" providerId="LiveId" clId="{11A41AEF-99CB-47F4-A016-759256902834}" dt="2022-09-27T04:02:09.701" v="2460"/>
        <pc:sldMkLst>
          <pc:docMk/>
          <pc:sldMk cId="1762358644" sldId="2135"/>
        </pc:sldMkLst>
      </pc:sldChg>
      <pc:sldChg chg="del">
        <pc:chgData name="Aurelien Domont" userId="6da7715ce44349b3" providerId="LiveId" clId="{11A41AEF-99CB-47F4-A016-759256902834}" dt="2022-09-27T03:26:33.053" v="2097" actId="47"/>
        <pc:sldMkLst>
          <pc:docMk/>
          <pc:sldMk cId="1073937120" sldId="2160"/>
        </pc:sldMkLst>
      </pc:sldChg>
      <pc:sldChg chg="addSp delSp modSp mod">
        <pc:chgData name="Aurelien Domont" userId="6da7715ce44349b3" providerId="LiveId" clId="{11A41AEF-99CB-47F4-A016-759256902834}" dt="2022-09-27T06:55:16.021" v="2634" actId="1038"/>
        <pc:sldMkLst>
          <pc:docMk/>
          <pc:sldMk cId="2400249224" sldId="2165"/>
        </pc:sldMkLst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2" creationId="{4BAF9F7D-47E8-EDF1-1824-769E8EFCA114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3" creationId="{A7619B0E-C844-84A5-D687-60EFAA245FF6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6" creationId="{5F8230BF-13EE-DB66-4345-A0388B905300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7" creationId="{599C8FDD-0CC4-114B-452C-C21BC13BBC14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9" creationId="{971121C4-049C-8929-C03D-B4C13B223921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10" creationId="{664D79BC-D3BC-43AD-5FE6-1DBBCAC02136}"/>
          </ac:spMkLst>
        </pc:spChg>
        <pc:spChg chg="del">
          <ac:chgData name="Aurelien Domont" userId="6da7715ce44349b3" providerId="LiveId" clId="{11A41AEF-99CB-47F4-A016-759256902834}" dt="2022-09-27T06:53:10.284" v="2504" actId="478"/>
          <ac:spMkLst>
            <pc:docMk/>
            <pc:sldMk cId="2400249224" sldId="2165"/>
            <ac:spMk id="11" creationId="{33B34409-FFF5-BC5A-AC6A-BEBB5DCE01EB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12" creationId="{823B4944-65C4-4BB1-9DFE-E40E286EE30D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15" creationId="{80B8A30C-E311-9743-C2AD-6C066A9B2E38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17" creationId="{D5650C65-A487-8E64-099E-C33C57094B80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18" creationId="{88429D78-7296-4BC5-B009-22D19FB81666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19" creationId="{50576D43-8AB5-6FE2-635A-5F58B93C6E2A}"/>
          </ac:spMkLst>
        </pc:spChg>
        <pc:spChg chg="add mod">
          <ac:chgData name="Aurelien Domont" userId="6da7715ce44349b3" providerId="LiveId" clId="{11A41AEF-99CB-47F4-A016-759256902834}" dt="2022-09-27T06:52:50.751" v="2492" actId="20577"/>
          <ac:spMkLst>
            <pc:docMk/>
            <pc:sldMk cId="2400249224" sldId="2165"/>
            <ac:spMk id="20" creationId="{04E6B53E-E22B-67D5-3171-E3A1CF25A167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25" creationId="{525C149E-37A3-3731-0657-3A10D0354C93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26" creationId="{65846DA0-6484-761B-D1FF-4E97D38F9D76}"/>
          </ac:spMkLst>
        </pc:spChg>
        <pc:spChg chg="del">
          <ac:chgData name="Aurelien Domont" userId="6da7715ce44349b3" providerId="LiveId" clId="{11A41AEF-99CB-47F4-A016-759256902834}" dt="2022-09-27T06:53:14.878" v="2505" actId="478"/>
          <ac:spMkLst>
            <pc:docMk/>
            <pc:sldMk cId="2400249224" sldId="2165"/>
            <ac:spMk id="28" creationId="{8FE8521E-118F-C14A-AD3B-97CEFB069646}"/>
          </ac:spMkLst>
        </pc:spChg>
        <pc:spChg chg="del">
          <ac:chgData name="Aurelien Domont" userId="6da7715ce44349b3" providerId="LiveId" clId="{11A41AEF-99CB-47F4-A016-759256902834}" dt="2022-09-27T06:53:20.183" v="2506" actId="478"/>
          <ac:spMkLst>
            <pc:docMk/>
            <pc:sldMk cId="2400249224" sldId="2165"/>
            <ac:spMk id="31" creationId="{2D2BE8AD-87F0-1D98-3CEB-F1418D37FDA0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35" creationId="{5C90CC3D-ED7C-4972-6D45-310A3A02207E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36" creationId="{0FCD1424-3E58-EFEE-1ACE-0C50A5C3C261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39" creationId="{B903D2D4-5358-36DC-6B43-19CEACC359FD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40" creationId="{5ABA2287-3C10-C19F-F67D-A6FC1D7FAAA2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54" creationId="{207750B2-0729-4BB5-BFF3-873815BFFE7B}"/>
          </ac:spMkLst>
        </pc:spChg>
        <pc:picChg chg="mod">
          <ac:chgData name="Aurelien Domont" userId="6da7715ce44349b3" providerId="LiveId" clId="{11A41AEF-99CB-47F4-A016-759256902834}" dt="2022-09-27T06:55:16.021" v="2634" actId="1038"/>
          <ac:picMkLst>
            <pc:docMk/>
            <pc:sldMk cId="2400249224" sldId="2165"/>
            <ac:picMk id="4" creationId="{693A3142-25AD-74E4-F972-2C819B0FB8CA}"/>
          </ac:picMkLst>
        </pc:picChg>
        <pc:picChg chg="mod">
          <ac:chgData name="Aurelien Domont" userId="6da7715ce44349b3" providerId="LiveId" clId="{11A41AEF-99CB-47F4-A016-759256902834}" dt="2022-09-27T06:55:16.021" v="2634" actId="1038"/>
          <ac:picMkLst>
            <pc:docMk/>
            <pc:sldMk cId="2400249224" sldId="2165"/>
            <ac:picMk id="8" creationId="{52BA9546-08D0-515A-FF34-13DD2D6F0E45}"/>
          </ac:picMkLst>
        </pc:picChg>
        <pc:picChg chg="mod">
          <ac:chgData name="Aurelien Domont" userId="6da7715ce44349b3" providerId="LiveId" clId="{11A41AEF-99CB-47F4-A016-759256902834}" dt="2022-09-27T06:55:16.021" v="2634" actId="1038"/>
          <ac:picMkLst>
            <pc:docMk/>
            <pc:sldMk cId="2400249224" sldId="2165"/>
            <ac:picMk id="14" creationId="{74CA0334-E7F2-4E00-8F48-A0C54D7E9AC0}"/>
          </ac:picMkLst>
        </pc:picChg>
        <pc:picChg chg="mod">
          <ac:chgData name="Aurelien Domont" userId="6da7715ce44349b3" providerId="LiveId" clId="{11A41AEF-99CB-47F4-A016-759256902834}" dt="2022-09-27T06:55:12.330" v="2629" actId="1037"/>
          <ac:picMkLst>
            <pc:docMk/>
            <pc:sldMk cId="2400249224" sldId="2165"/>
            <ac:picMk id="21" creationId="{9A368CC4-9FBD-0162-AF2C-015C7C9D9494}"/>
          </ac:picMkLst>
        </pc:picChg>
        <pc:picChg chg="del">
          <ac:chgData name="Aurelien Domont" userId="6da7715ce44349b3" providerId="LiveId" clId="{11A41AEF-99CB-47F4-A016-759256902834}" dt="2022-09-27T06:53:14.878" v="2505" actId="478"/>
          <ac:picMkLst>
            <pc:docMk/>
            <pc:sldMk cId="2400249224" sldId="2165"/>
            <ac:picMk id="27" creationId="{B3713B4C-803C-80DA-9A7C-F0EED3A6C916}"/>
          </ac:picMkLst>
        </pc:picChg>
        <pc:picChg chg="mod">
          <ac:chgData name="Aurelien Domont" userId="6da7715ce44349b3" providerId="LiveId" clId="{11A41AEF-99CB-47F4-A016-759256902834}" dt="2022-09-27T06:55:12.330" v="2629" actId="1037"/>
          <ac:picMkLst>
            <pc:docMk/>
            <pc:sldMk cId="2400249224" sldId="2165"/>
            <ac:picMk id="32" creationId="{43BBFCE3-794D-AF29-5748-38D15A9D8E1E}"/>
          </ac:picMkLst>
        </pc:picChg>
        <pc:picChg chg="mod">
          <ac:chgData name="Aurelien Domont" userId="6da7715ce44349b3" providerId="LiveId" clId="{11A41AEF-99CB-47F4-A016-759256902834}" dt="2022-09-27T06:55:12.330" v="2629" actId="1037"/>
          <ac:picMkLst>
            <pc:docMk/>
            <pc:sldMk cId="2400249224" sldId="2165"/>
            <ac:picMk id="38" creationId="{E652433E-6FE1-BFBF-CA2E-D4C59B390018}"/>
          </ac:picMkLst>
        </pc:picChg>
      </pc:sldChg>
      <pc:sldChg chg="del">
        <pc:chgData name="Aurelien Domont" userId="6da7715ce44349b3" providerId="LiveId" clId="{11A41AEF-99CB-47F4-A016-759256902834}" dt="2022-09-27T03:59:39.050" v="2442" actId="47"/>
        <pc:sldMkLst>
          <pc:docMk/>
          <pc:sldMk cId="2369505737" sldId="2167"/>
        </pc:sldMkLst>
      </pc:sldChg>
      <pc:sldChg chg="addSp delSp modSp mod">
        <pc:chgData name="Aurelien Domont" userId="6da7715ce44349b3" providerId="LiveId" clId="{11A41AEF-99CB-47F4-A016-759256902834}" dt="2022-09-27T03:02:14.908" v="1603" actId="255"/>
        <pc:sldMkLst>
          <pc:docMk/>
          <pc:sldMk cId="3218024908" sldId="2193"/>
        </pc:sldMkLst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" creationId="{78134F35-DC1F-4EA2-B9D5-BFDC59C70BAA}"/>
          </ac:spMkLst>
        </pc:spChg>
        <pc:spChg chg="add del mod">
          <ac:chgData name="Aurelien Domont" userId="6da7715ce44349b3" providerId="LiveId" clId="{11A41AEF-99CB-47F4-A016-759256902834}" dt="2022-09-27T02:53:18.866" v="1571" actId="478"/>
          <ac:spMkLst>
            <pc:docMk/>
            <pc:sldMk cId="3218024908" sldId="2193"/>
            <ac:spMk id="3" creationId="{E8135F82-5303-6C71-5D19-4A0A02040CA9}"/>
          </ac:spMkLst>
        </pc:spChg>
        <pc:spChg chg="del">
          <ac:chgData name="Aurelien Domont" userId="6da7715ce44349b3" providerId="LiveId" clId="{11A41AEF-99CB-47F4-A016-759256902834}" dt="2022-09-27T02:45:29.965" v="1410" actId="478"/>
          <ac:spMkLst>
            <pc:docMk/>
            <pc:sldMk cId="3218024908" sldId="2193"/>
            <ac:spMk id="6" creationId="{FEDFCCE0-25AD-4C14-89CD-252C7C79861E}"/>
          </ac:spMkLst>
        </pc:spChg>
        <pc:spChg chg="mod">
          <ac:chgData name="Aurelien Domont" userId="6da7715ce44349b3" providerId="LiveId" clId="{11A41AEF-99CB-47F4-A016-759256902834}" dt="2022-09-27T03:02:14.908" v="1603" actId="255"/>
          <ac:spMkLst>
            <pc:docMk/>
            <pc:sldMk cId="3218024908" sldId="2193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18" creationId="{BC66F36C-1148-4E3D-BC72-AF4A2165B45A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19" creationId="{C8D6E8F1-7DC4-4846-8C70-618451CC08FD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0" creationId="{10D92213-0A7E-4E14-8CB2-EAF0B1B39081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1" creationId="{DE76A44A-DE3D-49B4-A017-4356C3A5C480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2" creationId="{E26FC9C8-7DE8-46B0-9D47-EF552FF02A56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3" creationId="{FA941810-F36F-4103-94A7-5CB0287ED632}"/>
          </ac:spMkLst>
        </pc:spChg>
        <pc:spChg chg="del">
          <ac:chgData name="Aurelien Domont" userId="6da7715ce44349b3" providerId="LiveId" clId="{11A41AEF-99CB-47F4-A016-759256902834}" dt="2022-09-27T02:45:29.965" v="1410" actId="478"/>
          <ac:spMkLst>
            <pc:docMk/>
            <pc:sldMk cId="3218024908" sldId="2193"/>
            <ac:spMk id="29" creationId="{24DB11A0-6078-4CF5-B8B3-696531282961}"/>
          </ac:spMkLst>
        </pc:spChg>
        <pc:picChg chg="mod">
          <ac:chgData name="Aurelien Domont" userId="6da7715ce44349b3" providerId="LiveId" clId="{11A41AEF-99CB-47F4-A016-759256902834}" dt="2022-09-27T02:53:23.231" v="1584" actId="1036"/>
          <ac:picMkLst>
            <pc:docMk/>
            <pc:sldMk cId="3218024908" sldId="2193"/>
            <ac:picMk id="4" creationId="{65AAA698-9CA3-470A-A390-DD8CB53C4B0D}"/>
          </ac:picMkLst>
        </pc:picChg>
        <pc:picChg chg="add del mod">
          <ac:chgData name="Aurelien Domont" userId="6da7715ce44349b3" providerId="LiveId" clId="{11A41AEF-99CB-47F4-A016-759256902834}" dt="2022-09-27T02:55:21.581" v="1593" actId="478"/>
          <ac:picMkLst>
            <pc:docMk/>
            <pc:sldMk cId="3218024908" sldId="2193"/>
            <ac:picMk id="8" creationId="{F9BBB6BD-D113-00A9-83D8-569A259628C5}"/>
          </ac:picMkLst>
        </pc:picChg>
        <pc:picChg chg="add del mod">
          <ac:chgData name="Aurelien Domont" userId="6da7715ce44349b3" providerId="LiveId" clId="{11A41AEF-99CB-47F4-A016-759256902834}" dt="2022-09-27T02:55:21.066" v="1592" actId="478"/>
          <ac:picMkLst>
            <pc:docMk/>
            <pc:sldMk cId="3218024908" sldId="2193"/>
            <ac:picMk id="10" creationId="{6154051F-BCDD-F52E-E6B8-436ECC1C7729}"/>
          </ac:picMkLst>
        </pc:picChg>
        <pc:picChg chg="mod">
          <ac:chgData name="Aurelien Domont" userId="6da7715ce44349b3" providerId="LiveId" clId="{11A41AEF-99CB-47F4-A016-759256902834}" dt="2022-09-27T02:53:23.231" v="1584" actId="1036"/>
          <ac:picMkLst>
            <pc:docMk/>
            <pc:sldMk cId="3218024908" sldId="2193"/>
            <ac:picMk id="26" creationId="{1EEB2C52-6098-438D-8F9E-0399F310C93F}"/>
          </ac:picMkLst>
        </pc:picChg>
        <pc:picChg chg="mod">
          <ac:chgData name="Aurelien Domont" userId="6da7715ce44349b3" providerId="LiveId" clId="{11A41AEF-99CB-47F4-A016-759256902834}" dt="2022-09-27T02:53:23.231" v="1584" actId="1036"/>
          <ac:picMkLst>
            <pc:docMk/>
            <pc:sldMk cId="3218024908" sldId="2193"/>
            <ac:picMk id="27" creationId="{664CD2A2-916C-42C6-9DAF-C5C7B8FD3442}"/>
          </ac:picMkLst>
        </pc:picChg>
      </pc:sldChg>
      <pc:sldChg chg="modSp mod ord">
        <pc:chgData name="Aurelien Domont" userId="6da7715ce44349b3" providerId="LiveId" clId="{11A41AEF-99CB-47F4-A016-759256902834}" dt="2022-09-27T03:00:33.423" v="1599"/>
        <pc:sldMkLst>
          <pc:docMk/>
          <pc:sldMk cId="3015462381" sldId="2195"/>
        </pc:sldMkLst>
        <pc:spChg chg="mod">
          <ac:chgData name="Aurelien Domont" userId="6da7715ce44349b3" providerId="LiveId" clId="{11A41AEF-99CB-47F4-A016-759256902834}" dt="2022-09-27T02:57:58.911" v="1597" actId="113"/>
          <ac:spMkLst>
            <pc:docMk/>
            <pc:sldMk cId="3015462381" sldId="2195"/>
            <ac:spMk id="7" creationId="{6FE5E11F-FF38-4379-8EC8-AFC4127DCE22}"/>
          </ac:spMkLst>
        </pc:spChg>
      </pc:sldChg>
      <pc:sldChg chg="delSp modSp del mod ord">
        <pc:chgData name="Aurelien Domont" userId="6da7715ce44349b3" providerId="LiveId" clId="{11A41AEF-99CB-47F4-A016-759256902834}" dt="2022-09-27T03:12:20.131" v="1687" actId="47"/>
        <pc:sldMkLst>
          <pc:docMk/>
          <pc:sldMk cId="2560255870" sldId="2197"/>
        </pc:sldMkLst>
        <pc:spChg chg="mod">
          <ac:chgData name="Aurelien Domont" userId="6da7715ce44349b3" providerId="LiveId" clId="{11A41AEF-99CB-47F4-A016-759256902834}" dt="2022-09-27T03:04:40.697" v="1669" actId="20577"/>
          <ac:spMkLst>
            <pc:docMk/>
            <pc:sldMk cId="2560255870" sldId="2197"/>
            <ac:spMk id="16" creationId="{6C2BB713-9637-4B9B-938F-E9768876782A}"/>
          </ac:spMkLst>
        </pc:spChg>
        <pc:spChg chg="del">
          <ac:chgData name="Aurelien Domont" userId="6da7715ce44349b3" providerId="LiveId" clId="{11A41AEF-99CB-47F4-A016-759256902834}" dt="2022-09-27T03:04:20.866" v="1610" actId="478"/>
          <ac:spMkLst>
            <pc:docMk/>
            <pc:sldMk cId="2560255870" sldId="2197"/>
            <ac:spMk id="31" creationId="{80DB5C2A-CB4E-438A-8801-EB0869040D7B}"/>
          </ac:spMkLst>
        </pc:spChg>
        <pc:grpChg chg="del">
          <ac:chgData name="Aurelien Domont" userId="6da7715ce44349b3" providerId="LiveId" clId="{11A41AEF-99CB-47F4-A016-759256902834}" dt="2022-09-27T03:04:18.898" v="1609" actId="478"/>
          <ac:grpSpMkLst>
            <pc:docMk/>
            <pc:sldMk cId="2560255870" sldId="2197"/>
            <ac:grpSpMk id="2" creationId="{FFCD903C-2A8B-42A0-9428-7FD75FD8204A}"/>
          </ac:grpSpMkLst>
        </pc:grpChg>
      </pc:sldChg>
      <pc:sldChg chg="addSp delSp modSp mod ord">
        <pc:chgData name="Aurelien Domont" userId="6da7715ce44349b3" providerId="LiveId" clId="{11A41AEF-99CB-47F4-A016-759256902834}" dt="2022-09-27T03:50:10.988" v="2371" actId="255"/>
        <pc:sldMkLst>
          <pc:docMk/>
          <pc:sldMk cId="344576478" sldId="2198"/>
        </pc:sldMkLst>
        <pc:spChg chg="add del mod">
          <ac:chgData name="Aurelien Domont" userId="6da7715ce44349b3" providerId="LiveId" clId="{11A41AEF-99CB-47F4-A016-759256902834}" dt="2022-09-27T03:30:22.754" v="2108" actId="478"/>
          <ac:spMkLst>
            <pc:docMk/>
            <pc:sldMk cId="344576478" sldId="2198"/>
            <ac:spMk id="2" creationId="{CA1AFC62-B95F-C6DB-1DD9-E6946216103B}"/>
          </ac:spMkLst>
        </pc:spChg>
        <pc:spChg chg="add del mod">
          <ac:chgData name="Aurelien Domont" userId="6da7715ce44349b3" providerId="LiveId" clId="{11A41AEF-99CB-47F4-A016-759256902834}" dt="2022-09-27T03:30:59.722" v="2116" actId="478"/>
          <ac:spMkLst>
            <pc:docMk/>
            <pc:sldMk cId="344576478" sldId="2198"/>
            <ac:spMk id="3" creationId="{262FF008-A4BC-EF1D-F428-4589BF4F54EC}"/>
          </ac:spMkLst>
        </pc:spChg>
        <pc:spChg chg="add del mod">
          <ac:chgData name="Aurelien Domont" userId="6da7715ce44349b3" providerId="LiveId" clId="{11A41AEF-99CB-47F4-A016-759256902834}" dt="2022-09-27T03:30:59.722" v="2116" actId="478"/>
          <ac:spMkLst>
            <pc:docMk/>
            <pc:sldMk cId="344576478" sldId="2198"/>
            <ac:spMk id="4" creationId="{A84CB3C8-9ADA-1B3D-8233-9D9000319C26}"/>
          </ac:spMkLst>
        </pc:spChg>
        <pc:spChg chg="add del mod">
          <ac:chgData name="Aurelien Domont" userId="6da7715ce44349b3" providerId="LiveId" clId="{11A41AEF-99CB-47F4-A016-759256902834}" dt="2022-09-27T03:32:14.673" v="2120" actId="478"/>
          <ac:spMkLst>
            <pc:docMk/>
            <pc:sldMk cId="344576478" sldId="2198"/>
            <ac:spMk id="6" creationId="{36E0EAAA-D976-FD02-F2F6-612972642C7A}"/>
          </ac:spMkLst>
        </pc:spChg>
        <pc:spChg chg="mod">
          <ac:chgData name="Aurelien Domont" userId="6da7715ce44349b3" providerId="LiveId" clId="{11A41AEF-99CB-47F4-A016-759256902834}" dt="2022-09-27T03:50:10.988" v="2371" actId="255"/>
          <ac:spMkLst>
            <pc:docMk/>
            <pc:sldMk cId="344576478" sldId="2198"/>
            <ac:spMk id="7" creationId="{F79D136A-64A2-4C49-9EE6-43915E022B73}"/>
          </ac:spMkLst>
        </pc:spChg>
        <pc:spChg chg="add del mod">
          <ac:chgData name="Aurelien Domont" userId="6da7715ce44349b3" providerId="LiveId" clId="{11A41AEF-99CB-47F4-A016-759256902834}" dt="2022-09-27T03:32:14.673" v="2120" actId="478"/>
          <ac:spMkLst>
            <pc:docMk/>
            <pc:sldMk cId="344576478" sldId="2198"/>
            <ac:spMk id="8" creationId="{FB08D768-8272-38BD-76FF-223CEA086F5A}"/>
          </ac:spMkLst>
        </pc:spChg>
        <pc:spChg chg="add del mod">
          <ac:chgData name="Aurelien Domont" userId="6da7715ce44349b3" providerId="LiveId" clId="{11A41AEF-99CB-47F4-A016-759256902834}" dt="2022-09-27T03:32:37.348" v="2124" actId="478"/>
          <ac:spMkLst>
            <pc:docMk/>
            <pc:sldMk cId="344576478" sldId="2198"/>
            <ac:spMk id="9" creationId="{F0F7B24A-F19C-B39E-DC3A-AB058B979E0E}"/>
          </ac:spMkLst>
        </pc:spChg>
        <pc:spChg chg="add del mod">
          <ac:chgData name="Aurelien Domont" userId="6da7715ce44349b3" providerId="LiveId" clId="{11A41AEF-99CB-47F4-A016-759256902834}" dt="2022-09-27T03:32:37.348" v="2124" actId="478"/>
          <ac:spMkLst>
            <pc:docMk/>
            <pc:sldMk cId="344576478" sldId="2198"/>
            <ac:spMk id="10" creationId="{AC9C0650-95D9-9DF8-8A0A-03CF620DD536}"/>
          </ac:spMkLst>
        </pc:spChg>
        <pc:spChg chg="add del mod">
          <ac:chgData name="Aurelien Domont" userId="6da7715ce44349b3" providerId="LiveId" clId="{11A41AEF-99CB-47F4-A016-759256902834}" dt="2022-09-27T03:32:37.348" v="2124" actId="478"/>
          <ac:spMkLst>
            <pc:docMk/>
            <pc:sldMk cId="344576478" sldId="2198"/>
            <ac:spMk id="11" creationId="{0F41BE7D-6FE3-8DF6-AD01-A940008C46CB}"/>
          </ac:spMkLst>
        </pc:spChg>
        <pc:spChg chg="add del mod">
          <ac:chgData name="Aurelien Domont" userId="6da7715ce44349b3" providerId="LiveId" clId="{11A41AEF-99CB-47F4-A016-759256902834}" dt="2022-09-27T03:34:13.428" v="2163" actId="478"/>
          <ac:spMkLst>
            <pc:docMk/>
            <pc:sldMk cId="344576478" sldId="2198"/>
            <ac:spMk id="12" creationId="{C3C3264E-B77B-1218-6B26-843CE7A9A29A}"/>
          </ac:spMkLst>
        </pc:spChg>
        <pc:spChg chg="add del mod">
          <ac:chgData name="Aurelien Domont" userId="6da7715ce44349b3" providerId="LiveId" clId="{11A41AEF-99CB-47F4-A016-759256902834}" dt="2022-09-27T03:40:39.401" v="2299" actId="478"/>
          <ac:spMkLst>
            <pc:docMk/>
            <pc:sldMk cId="344576478" sldId="2198"/>
            <ac:spMk id="14" creationId="{757D1E40-8095-4549-5C27-AC6BCDB8ECDE}"/>
          </ac:spMkLst>
        </pc:spChg>
        <pc:spChg chg="add del mod">
          <ac:chgData name="Aurelien Domont" userId="6da7715ce44349b3" providerId="LiveId" clId="{11A41AEF-99CB-47F4-A016-759256902834}" dt="2022-09-27T03:50:02.433" v="2367" actId="478"/>
          <ac:spMkLst>
            <pc:docMk/>
            <pc:sldMk cId="344576478" sldId="2198"/>
            <ac:spMk id="15" creationId="{390F3EA6-125B-2E42-426B-D5180AC9B94D}"/>
          </ac:spMkLst>
        </pc:spChg>
      </pc:sldChg>
      <pc:sldChg chg="modSp del mod">
        <pc:chgData name="Aurelien Domont" userId="6da7715ce44349b3" providerId="LiveId" clId="{11A41AEF-99CB-47F4-A016-759256902834}" dt="2022-09-27T03:26:33.053" v="2097" actId="47"/>
        <pc:sldMkLst>
          <pc:docMk/>
          <pc:sldMk cId="3766489486" sldId="2203"/>
        </pc:sldMkLst>
        <pc:spChg chg="mod">
          <ac:chgData name="Aurelien Domont" userId="6da7715ce44349b3" providerId="LiveId" clId="{11A41AEF-99CB-47F4-A016-759256902834}" dt="2022-09-27T02:51:52.739" v="1549" actId="20577"/>
          <ac:spMkLst>
            <pc:docMk/>
            <pc:sldMk cId="3766489486" sldId="2203"/>
            <ac:spMk id="16" creationId="{6C2BB713-9637-4B9B-938F-E9768876782A}"/>
          </ac:spMkLst>
        </pc:spChg>
      </pc:sldChg>
      <pc:sldChg chg="ord">
        <pc:chgData name="Aurelien Domont" userId="6da7715ce44349b3" providerId="LiveId" clId="{11A41AEF-99CB-47F4-A016-759256902834}" dt="2022-09-27T04:13:07.285" v="2478"/>
        <pc:sldMkLst>
          <pc:docMk/>
          <pc:sldMk cId="41853081" sldId="2223"/>
        </pc:sldMkLst>
      </pc:sldChg>
      <pc:sldChg chg="del">
        <pc:chgData name="Aurelien Domont" userId="6da7715ce44349b3" providerId="LiveId" clId="{11A41AEF-99CB-47F4-A016-759256902834}" dt="2022-09-27T04:11:29.382" v="2471" actId="2696"/>
        <pc:sldMkLst>
          <pc:docMk/>
          <pc:sldMk cId="1081148331" sldId="2227"/>
        </pc:sldMkLst>
      </pc:sldChg>
      <pc:sldChg chg="modSp add mod">
        <pc:chgData name="Aurelien Domont" userId="6da7715ce44349b3" providerId="LiveId" clId="{11A41AEF-99CB-47F4-A016-759256902834}" dt="2022-09-27T04:11:43.076" v="2473" actId="20577"/>
        <pc:sldMkLst>
          <pc:docMk/>
          <pc:sldMk cId="2298054063" sldId="2227"/>
        </pc:sldMkLst>
        <pc:spChg chg="mod">
          <ac:chgData name="Aurelien Domont" userId="6da7715ce44349b3" providerId="LiveId" clId="{11A41AEF-99CB-47F4-A016-759256902834}" dt="2022-09-27T04:11:43.076" v="2473" actId="20577"/>
          <ac:spMkLst>
            <pc:docMk/>
            <pc:sldMk cId="2298054063" sldId="2227"/>
            <ac:spMk id="16" creationId="{6C2BB713-9637-4B9B-938F-E9768876782A}"/>
          </ac:spMkLst>
        </pc:spChg>
      </pc:sldChg>
      <pc:sldChg chg="addSp delSp modSp mod">
        <pc:chgData name="Aurelien Domont" userId="6da7715ce44349b3" providerId="LiveId" clId="{11A41AEF-99CB-47F4-A016-759256902834}" dt="2022-09-27T03:51:34.528" v="2378" actId="478"/>
        <pc:sldMkLst>
          <pc:docMk/>
          <pc:sldMk cId="1496818132" sldId="2254"/>
        </pc:sldMkLst>
        <pc:spChg chg="del">
          <ac:chgData name="Aurelien Domont" userId="6da7715ce44349b3" providerId="LiveId" clId="{11A41AEF-99CB-47F4-A016-759256902834}" dt="2022-09-20T03:05:18.581" v="1" actId="478"/>
          <ac:spMkLst>
            <pc:docMk/>
            <pc:sldMk cId="1496818132" sldId="2254"/>
            <ac:spMk id="2" creationId="{663F4C7F-7428-7F9B-2172-9423CB8B13BE}"/>
          </ac:spMkLst>
        </pc:spChg>
        <pc:spChg chg="mod">
          <ac:chgData name="Aurelien Domont" userId="6da7715ce44349b3" providerId="LiveId" clId="{11A41AEF-99CB-47F4-A016-759256902834}" dt="2022-09-21T06:44:54.186" v="1361" actId="1036"/>
          <ac:spMkLst>
            <pc:docMk/>
            <pc:sldMk cId="1496818132" sldId="2254"/>
            <ac:spMk id="3" creationId="{90A5CC39-924F-B560-B361-10BCCFC27B3E}"/>
          </ac:spMkLst>
        </pc:spChg>
        <pc:spChg chg="mod">
          <ac:chgData name="Aurelien Domont" userId="6da7715ce44349b3" providerId="LiveId" clId="{11A41AEF-99CB-47F4-A016-759256902834}" dt="2022-09-21T06:44:49.272" v="1356" actId="1036"/>
          <ac:spMkLst>
            <pc:docMk/>
            <pc:sldMk cId="1496818132" sldId="2254"/>
            <ac:spMk id="4" creationId="{8218B653-FC0A-1710-77DA-0AC271D02501}"/>
          </ac:spMkLst>
        </pc:spChg>
        <pc:spChg chg="del">
          <ac:chgData name="Aurelien Domont" userId="6da7715ce44349b3" providerId="LiveId" clId="{11A41AEF-99CB-47F4-A016-759256902834}" dt="2022-09-20T03:05:19.522" v="2" actId="478"/>
          <ac:spMkLst>
            <pc:docMk/>
            <pc:sldMk cId="1496818132" sldId="2254"/>
            <ac:spMk id="6" creationId="{5E657894-833D-8D63-6224-624169DF702A}"/>
          </ac:spMkLst>
        </pc:spChg>
        <pc:spChg chg="add del mod">
          <ac:chgData name="Aurelien Domont" userId="6da7715ce44349b3" providerId="LiveId" clId="{11A41AEF-99CB-47F4-A016-759256902834}" dt="2022-09-27T03:51:24.318" v="2375" actId="478"/>
          <ac:spMkLst>
            <pc:docMk/>
            <pc:sldMk cId="1496818132" sldId="2254"/>
            <ac:spMk id="7" creationId="{52BB9A26-60E6-840D-3720-CA98EFFD1030}"/>
          </ac:spMkLst>
        </pc:spChg>
        <pc:spChg chg="add mod">
          <ac:chgData name="Aurelien Domont" userId="6da7715ce44349b3" providerId="LiveId" clId="{11A41AEF-99CB-47F4-A016-759256902834}" dt="2022-09-21T01:35:56.843" v="1271" actId="1035"/>
          <ac:spMkLst>
            <pc:docMk/>
            <pc:sldMk cId="1496818132" sldId="2254"/>
            <ac:spMk id="8" creationId="{ADA6552A-588E-753D-BAC3-B5CE0880D4B3}"/>
          </ac:spMkLst>
        </pc:spChg>
        <pc:spChg chg="del mod">
          <ac:chgData name="Aurelien Domont" userId="6da7715ce44349b3" providerId="LiveId" clId="{11A41AEF-99CB-47F4-A016-759256902834}" dt="2022-09-27T03:51:26.818" v="2376" actId="478"/>
          <ac:spMkLst>
            <pc:docMk/>
            <pc:sldMk cId="1496818132" sldId="2254"/>
            <ac:spMk id="9" creationId="{924DE41C-0E96-914B-DD9E-D888CFAB3A0C}"/>
          </ac:spMkLst>
        </pc:spChg>
        <pc:spChg chg="add mod">
          <ac:chgData name="Aurelien Domont" userId="6da7715ce44349b3" providerId="LiveId" clId="{11A41AEF-99CB-47F4-A016-759256902834}" dt="2022-09-21T01:35:56.843" v="1271" actId="1035"/>
          <ac:spMkLst>
            <pc:docMk/>
            <pc:sldMk cId="1496818132" sldId="2254"/>
            <ac:spMk id="12" creationId="{28A3B632-48C5-0AB1-4E0B-1AAAE788F15A}"/>
          </ac:spMkLst>
        </pc:spChg>
        <pc:spChg chg="mod">
          <ac:chgData name="Aurelien Domont" userId="6da7715ce44349b3" providerId="LiveId" clId="{11A41AEF-99CB-47F4-A016-759256902834}" dt="2022-09-21T06:45:22.641" v="1368" actId="14100"/>
          <ac:spMkLst>
            <pc:docMk/>
            <pc:sldMk cId="1496818132" sldId="2254"/>
            <ac:spMk id="15" creationId="{732724F5-813D-4E0C-955B-93EC1AD01210}"/>
          </ac:spMkLst>
        </pc:spChg>
        <pc:spChg chg="mod">
          <ac:chgData name="Aurelien Domont" userId="6da7715ce44349b3" providerId="LiveId" clId="{11A41AEF-99CB-47F4-A016-759256902834}" dt="2022-09-20T04:06:41.529" v="622" actId="20577"/>
          <ac:spMkLst>
            <pc:docMk/>
            <pc:sldMk cId="1496818132" sldId="2254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1T06:45:22.641" v="1368" actId="14100"/>
          <ac:spMkLst>
            <pc:docMk/>
            <pc:sldMk cId="1496818132" sldId="2254"/>
            <ac:spMk id="17" creationId="{BAEEACBE-E39A-4BC1-B55D-166857BB1CEC}"/>
          </ac:spMkLst>
        </pc:spChg>
        <pc:spChg chg="del">
          <ac:chgData name="Aurelien Domont" userId="6da7715ce44349b3" providerId="LiveId" clId="{11A41AEF-99CB-47F4-A016-759256902834}" dt="2022-09-20T03:17:20.903" v="171" actId="478"/>
          <ac:spMkLst>
            <pc:docMk/>
            <pc:sldMk cId="1496818132" sldId="2254"/>
            <ac:spMk id="18" creationId="{FCD01D50-6898-4F94-A2D3-151F072B5E6A}"/>
          </ac:spMkLst>
        </pc:spChg>
        <pc:spChg chg="add mod">
          <ac:chgData name="Aurelien Domont" userId="6da7715ce44349b3" providerId="LiveId" clId="{11A41AEF-99CB-47F4-A016-759256902834}" dt="2022-09-21T01:35:56.843" v="1271" actId="1035"/>
          <ac:spMkLst>
            <pc:docMk/>
            <pc:sldMk cId="1496818132" sldId="2254"/>
            <ac:spMk id="19" creationId="{C2264392-13A8-D9D9-481B-BDBFCB6771D6}"/>
          </ac:spMkLst>
        </pc:spChg>
        <pc:spChg chg="del mod">
          <ac:chgData name="Aurelien Domont" userId="6da7715ce44349b3" providerId="LiveId" clId="{11A41AEF-99CB-47F4-A016-759256902834}" dt="2022-09-27T03:51:26.818" v="2376" actId="478"/>
          <ac:spMkLst>
            <pc:docMk/>
            <pc:sldMk cId="1496818132" sldId="2254"/>
            <ac:spMk id="21" creationId="{04475BBB-2493-447A-9108-B1FDDAAEE739}"/>
          </ac:spMkLst>
        </pc:spChg>
        <pc:spChg chg="mod">
          <ac:chgData name="Aurelien Domont" userId="6da7715ce44349b3" providerId="LiveId" clId="{11A41AEF-99CB-47F4-A016-759256902834}" dt="2022-09-21T06:45:22.641" v="1368" actId="14100"/>
          <ac:spMkLst>
            <pc:docMk/>
            <pc:sldMk cId="1496818132" sldId="2254"/>
            <ac:spMk id="23" creationId="{28367C24-9AE2-0620-1A38-DBDEA6B16085}"/>
          </ac:spMkLst>
        </pc:spChg>
        <pc:spChg chg="del mod">
          <ac:chgData name="Aurelien Domont" userId="6da7715ce44349b3" providerId="LiveId" clId="{11A41AEF-99CB-47F4-A016-759256902834}" dt="2022-09-27T03:51:26.818" v="2376" actId="478"/>
          <ac:spMkLst>
            <pc:docMk/>
            <pc:sldMk cId="1496818132" sldId="2254"/>
            <ac:spMk id="26" creationId="{1963B5D8-6D53-5636-94E7-49DE57DC1E07}"/>
          </ac:spMkLst>
        </pc:spChg>
        <pc:spChg chg="del">
          <ac:chgData name="Aurelien Domont" userId="6da7715ce44349b3" providerId="LiveId" clId="{11A41AEF-99CB-47F4-A016-759256902834}" dt="2022-09-20T03:17:20.903" v="171" actId="478"/>
          <ac:spMkLst>
            <pc:docMk/>
            <pc:sldMk cId="1496818132" sldId="2254"/>
            <ac:spMk id="30" creationId="{ABCF8935-0CD9-DD33-5AE1-DDDEDF2F79B3}"/>
          </ac:spMkLst>
        </pc:spChg>
        <pc:picChg chg="mod">
          <ac:chgData name="Aurelien Domont" userId="6da7715ce44349b3" providerId="LiveId" clId="{11A41AEF-99CB-47F4-A016-759256902834}" dt="2022-09-21T06:44:54.186" v="1361" actId="1036"/>
          <ac:picMkLst>
            <pc:docMk/>
            <pc:sldMk cId="1496818132" sldId="2254"/>
            <ac:picMk id="10" creationId="{35D931AB-37DA-E9B9-595B-6A746D282FFC}"/>
          </ac:picMkLst>
        </pc:picChg>
        <pc:picChg chg="mod">
          <ac:chgData name="Aurelien Domont" userId="6da7715ce44349b3" providerId="LiveId" clId="{11A41AEF-99CB-47F4-A016-759256902834}" dt="2022-09-21T01:35:56.843" v="1271" actId="1035"/>
          <ac:picMkLst>
            <pc:docMk/>
            <pc:sldMk cId="1496818132" sldId="2254"/>
            <ac:picMk id="11" creationId="{F7023286-7E4D-54F9-9F97-2A16587B14C4}"/>
          </ac:picMkLst>
        </pc:picChg>
        <pc:picChg chg="mod">
          <ac:chgData name="Aurelien Domont" userId="6da7715ce44349b3" providerId="LiveId" clId="{11A41AEF-99CB-47F4-A016-759256902834}" dt="2022-09-21T01:35:56.843" v="1271" actId="1035"/>
          <ac:picMkLst>
            <pc:docMk/>
            <pc:sldMk cId="1496818132" sldId="2254"/>
            <ac:picMk id="14" creationId="{DBDFB990-AAB1-CE03-158E-0DD639C28A01}"/>
          </ac:picMkLst>
        </pc:picChg>
        <pc:picChg chg="mod">
          <ac:chgData name="Aurelien Domont" userId="6da7715ce44349b3" providerId="LiveId" clId="{11A41AEF-99CB-47F4-A016-759256902834}" dt="2022-09-21T06:45:14.274" v="1367" actId="1035"/>
          <ac:picMkLst>
            <pc:docMk/>
            <pc:sldMk cId="1496818132" sldId="2254"/>
            <ac:picMk id="27" creationId="{782C61AD-99C7-CBAC-C8BA-E135AAA3D365}"/>
          </ac:picMkLst>
        </pc:picChg>
        <pc:picChg chg="del">
          <ac:chgData name="Aurelien Domont" userId="6da7715ce44349b3" providerId="LiveId" clId="{11A41AEF-99CB-47F4-A016-759256902834}" dt="2022-09-20T03:17:20.903" v="171" actId="478"/>
          <ac:picMkLst>
            <pc:docMk/>
            <pc:sldMk cId="1496818132" sldId="2254"/>
            <ac:picMk id="35" creationId="{28FA8F3B-3159-0597-9A34-43B336B3274B}"/>
          </ac:picMkLst>
        </pc:picChg>
        <pc:picChg chg="mod">
          <ac:chgData name="Aurelien Domont" userId="6da7715ce44349b3" providerId="LiveId" clId="{11A41AEF-99CB-47F4-A016-759256902834}" dt="2022-09-21T01:35:56.843" v="1271" actId="1035"/>
          <ac:picMkLst>
            <pc:docMk/>
            <pc:sldMk cId="1496818132" sldId="2254"/>
            <ac:picMk id="37" creationId="{C1404C6B-EFF0-0834-79FB-FF4DFBD916F2}"/>
          </ac:picMkLst>
        </pc:picChg>
        <pc:cxnChg chg="del mod">
          <ac:chgData name="Aurelien Domont" userId="6da7715ce44349b3" providerId="LiveId" clId="{11A41AEF-99CB-47F4-A016-759256902834}" dt="2022-09-27T03:51:34.528" v="2378" actId="478"/>
          <ac:cxnSpMkLst>
            <pc:docMk/>
            <pc:sldMk cId="1496818132" sldId="2254"/>
            <ac:cxnSpMk id="34" creationId="{92C3D4BB-0BAE-EE43-89E7-5D3506538626}"/>
          </ac:cxnSpMkLst>
        </pc:cxnChg>
        <pc:cxnChg chg="del">
          <ac:chgData name="Aurelien Domont" userId="6da7715ce44349b3" providerId="LiveId" clId="{11A41AEF-99CB-47F4-A016-759256902834}" dt="2022-09-20T03:18:11.989" v="229" actId="478"/>
          <ac:cxnSpMkLst>
            <pc:docMk/>
            <pc:sldMk cId="1496818132" sldId="2254"/>
            <ac:cxnSpMk id="38" creationId="{6266A661-C2A7-3312-5177-A845867625F3}"/>
          </ac:cxnSpMkLst>
        </pc:cxnChg>
        <pc:cxnChg chg="del mod">
          <ac:chgData name="Aurelien Domont" userId="6da7715ce44349b3" providerId="LiveId" clId="{11A41AEF-99CB-47F4-A016-759256902834}" dt="2022-09-27T03:51:33.741" v="2377" actId="478"/>
          <ac:cxnSpMkLst>
            <pc:docMk/>
            <pc:sldMk cId="1496818132" sldId="2254"/>
            <ac:cxnSpMk id="39" creationId="{0E70ECA8-AC52-F1BD-1415-4B54F611A7C8}"/>
          </ac:cxnSpMkLst>
        </pc:cxnChg>
      </pc:sldChg>
      <pc:sldChg chg="del">
        <pc:chgData name="Aurelien Domont" userId="6da7715ce44349b3" providerId="LiveId" clId="{11A41AEF-99CB-47F4-A016-759256902834}" dt="2022-09-27T03:59:44.820" v="2443" actId="47"/>
        <pc:sldMkLst>
          <pc:docMk/>
          <pc:sldMk cId="176684190" sldId="2256"/>
        </pc:sldMkLst>
      </pc:sldChg>
      <pc:sldChg chg="del">
        <pc:chgData name="Aurelien Domont" userId="6da7715ce44349b3" providerId="LiveId" clId="{11A41AEF-99CB-47F4-A016-759256902834}" dt="2022-09-27T04:00:05.023" v="2444" actId="47"/>
        <pc:sldMkLst>
          <pc:docMk/>
          <pc:sldMk cId="12088286" sldId="2257"/>
        </pc:sldMkLst>
      </pc:sldChg>
      <pc:sldChg chg="del">
        <pc:chgData name="Aurelien Domont" userId="6da7715ce44349b3" providerId="LiveId" clId="{11A41AEF-99CB-47F4-A016-759256902834}" dt="2022-09-27T04:00:05.023" v="2444" actId="47"/>
        <pc:sldMkLst>
          <pc:docMk/>
          <pc:sldMk cId="2875223496" sldId="2258"/>
        </pc:sldMkLst>
      </pc:sldChg>
      <pc:sldChg chg="del">
        <pc:chgData name="Aurelien Domont" userId="6da7715ce44349b3" providerId="LiveId" clId="{11A41AEF-99CB-47F4-A016-759256902834}" dt="2022-09-27T04:11:04.113" v="2467" actId="47"/>
        <pc:sldMkLst>
          <pc:docMk/>
          <pc:sldMk cId="3773085437" sldId="2373"/>
        </pc:sldMkLst>
      </pc:sldChg>
      <pc:sldChg chg="add">
        <pc:chgData name="Aurelien Domont" userId="6da7715ce44349b3" providerId="LiveId" clId="{11A41AEF-99CB-47F4-A016-759256902834}" dt="2022-09-27T04:04:31.659" v="2461"/>
        <pc:sldMkLst>
          <pc:docMk/>
          <pc:sldMk cId="2553944804" sldId="2375"/>
        </pc:sldMkLst>
      </pc:sldChg>
      <pc:sldChg chg="del">
        <pc:chgData name="Aurelien Domont" userId="6da7715ce44349b3" providerId="LiveId" clId="{11A41AEF-99CB-47F4-A016-759256902834}" dt="2022-09-27T04:00:05.023" v="2444" actId="47"/>
        <pc:sldMkLst>
          <pc:docMk/>
          <pc:sldMk cId="212229395" sldId="2380"/>
        </pc:sldMkLst>
      </pc:sldChg>
      <pc:sldChg chg="add del">
        <pc:chgData name="Aurelien Domont" userId="6da7715ce44349b3" providerId="LiveId" clId="{11A41AEF-99CB-47F4-A016-759256902834}" dt="2022-09-27T04:05:47.743" v="2464"/>
        <pc:sldMkLst>
          <pc:docMk/>
          <pc:sldMk cId="3452782526" sldId="2381"/>
        </pc:sldMkLst>
      </pc:sldChg>
      <pc:sldChg chg="del">
        <pc:chgData name="Aurelien Domont" userId="6da7715ce44349b3" providerId="LiveId" clId="{11A41AEF-99CB-47F4-A016-759256902834}" dt="2022-09-27T04:00:58.790" v="2459" actId="47"/>
        <pc:sldMkLst>
          <pc:docMk/>
          <pc:sldMk cId="3626704697" sldId="2381"/>
        </pc:sldMkLst>
      </pc:sldChg>
      <pc:sldChg chg="del">
        <pc:chgData name="Aurelien Domont" userId="6da7715ce44349b3" providerId="LiveId" clId="{11A41AEF-99CB-47F4-A016-759256902834}" dt="2022-09-27T04:11:12.684" v="2470" actId="47"/>
        <pc:sldMkLst>
          <pc:docMk/>
          <pc:sldMk cId="3894940994" sldId="2382"/>
        </pc:sldMkLst>
      </pc:sldChg>
      <pc:sldChg chg="del">
        <pc:chgData name="Aurelien Domont" userId="6da7715ce44349b3" providerId="LiveId" clId="{11A41AEF-99CB-47F4-A016-759256902834}" dt="2022-09-27T04:12:18.359" v="2474" actId="47"/>
        <pc:sldMkLst>
          <pc:docMk/>
          <pc:sldMk cId="3518454664" sldId="2383"/>
        </pc:sldMkLst>
      </pc:sldChg>
      <pc:sldChg chg="add">
        <pc:chgData name="Aurelien Domont" userId="6da7715ce44349b3" providerId="LiveId" clId="{11A41AEF-99CB-47F4-A016-759256902834}" dt="2022-09-27T04:11:36.257" v="2472"/>
        <pc:sldMkLst>
          <pc:docMk/>
          <pc:sldMk cId="791836945" sldId="2389"/>
        </pc:sldMkLst>
      </pc:sldChg>
      <pc:sldChg chg="del">
        <pc:chgData name="Aurelien Domont" userId="6da7715ce44349b3" providerId="LiveId" clId="{11A41AEF-99CB-47F4-A016-759256902834}" dt="2022-09-27T04:11:29.382" v="2471" actId="2696"/>
        <pc:sldMkLst>
          <pc:docMk/>
          <pc:sldMk cId="2445504132" sldId="2389"/>
        </pc:sldMkLst>
      </pc:sldChg>
      <pc:sldChg chg="add">
        <pc:chgData name="Aurelien Domont" userId="6da7715ce44349b3" providerId="LiveId" clId="{11A41AEF-99CB-47F4-A016-759256902834}" dt="2022-09-27T04:02:09.701" v="2460"/>
        <pc:sldMkLst>
          <pc:docMk/>
          <pc:sldMk cId="1752535371" sldId="2397"/>
        </pc:sldMkLst>
      </pc:sldChg>
      <pc:sldChg chg="del">
        <pc:chgData name="Aurelien Domont" userId="6da7715ce44349b3" providerId="LiveId" clId="{11A41AEF-99CB-47F4-A016-759256902834}" dt="2022-09-27T04:12:45.740" v="2475" actId="2696"/>
        <pc:sldMkLst>
          <pc:docMk/>
          <pc:sldMk cId="1405034369" sldId="2440"/>
        </pc:sldMkLst>
      </pc:sldChg>
      <pc:sldChg chg="add">
        <pc:chgData name="Aurelien Domont" userId="6da7715ce44349b3" providerId="LiveId" clId="{11A41AEF-99CB-47F4-A016-759256902834}" dt="2022-09-27T04:12:51.368" v="2476"/>
        <pc:sldMkLst>
          <pc:docMk/>
          <pc:sldMk cId="2201775649" sldId="2440"/>
        </pc:sldMkLst>
      </pc:sldChg>
      <pc:sldChg chg="del">
        <pc:chgData name="Aurelien Domont" userId="6da7715ce44349b3" providerId="LiveId" clId="{11A41AEF-99CB-47F4-A016-759256902834}" dt="2022-09-27T04:13:11.116" v="2479" actId="47"/>
        <pc:sldMkLst>
          <pc:docMk/>
          <pc:sldMk cId="331291724" sldId="2441"/>
        </pc:sldMkLst>
      </pc:sldChg>
      <pc:sldChg chg="del">
        <pc:chgData name="Aurelien Domont" userId="6da7715ce44349b3" providerId="LiveId" clId="{11A41AEF-99CB-47F4-A016-759256902834}" dt="2022-09-27T04:13:11.116" v="2479" actId="47"/>
        <pc:sldMkLst>
          <pc:docMk/>
          <pc:sldMk cId="1716259302" sldId="2442"/>
        </pc:sldMkLst>
      </pc:sldChg>
      <pc:sldChg chg="addSp modSp add del mod ord">
        <pc:chgData name="Aurelien Domont" userId="6da7715ce44349b3" providerId="LiveId" clId="{11A41AEF-99CB-47F4-A016-759256902834}" dt="2022-09-27T04:13:21.631" v="2480" actId="47"/>
        <pc:sldMkLst>
          <pc:docMk/>
          <pc:sldMk cId="925891283" sldId="2444"/>
        </pc:sldMkLst>
        <pc:spChg chg="add mod">
          <ac:chgData name="Aurelien Domont" userId="6da7715ce44349b3" providerId="LiveId" clId="{11A41AEF-99CB-47F4-A016-759256902834}" dt="2022-09-27T02:54:46.477" v="1590" actId="207"/>
          <ac:spMkLst>
            <pc:docMk/>
            <pc:sldMk cId="925891283" sldId="2444"/>
            <ac:spMk id="3" creationId="{B07997CF-64D7-8384-D3A7-0C3FB9DC416D}"/>
          </ac:spMkLst>
        </pc:spChg>
      </pc:sldChg>
      <pc:sldChg chg="add del">
        <pc:chgData name="Aurelien Domont" userId="6da7715ce44349b3" providerId="LiveId" clId="{11A41AEF-99CB-47F4-A016-759256902834}" dt="2022-09-27T02:50:35.416" v="1498" actId="47"/>
        <pc:sldMkLst>
          <pc:docMk/>
          <pc:sldMk cId="3576879267" sldId="2444"/>
        </pc:sldMkLst>
      </pc:sldChg>
      <pc:sldChg chg="addSp delSp modSp add del mod">
        <pc:chgData name="Aurelien Domont" userId="6da7715ce44349b3" providerId="LiveId" clId="{11A41AEF-99CB-47F4-A016-759256902834}" dt="2022-09-23T05:07:55.528" v="1400" actId="47"/>
        <pc:sldMkLst>
          <pc:docMk/>
          <pc:sldMk cId="3901343652" sldId="2444"/>
        </pc:sldMkLst>
        <pc:spChg chg="del mod">
          <ac:chgData name="Aurelien Domont" userId="6da7715ce44349b3" providerId="LiveId" clId="{11A41AEF-99CB-47F4-A016-759256902834}" dt="2022-09-20T03:44:05.089" v="528" actId="478"/>
          <ac:spMkLst>
            <pc:docMk/>
            <pc:sldMk cId="3901343652" sldId="2444"/>
            <ac:spMk id="2" creationId="{663F4C7F-7428-7F9B-2172-9423CB8B13BE}"/>
          </ac:spMkLst>
        </pc:spChg>
        <pc:spChg chg="add mod">
          <ac:chgData name="Aurelien Domont" userId="6da7715ce44349b3" providerId="LiveId" clId="{11A41AEF-99CB-47F4-A016-759256902834}" dt="2022-09-21T02:44:21.211" v="1333"/>
          <ac:spMkLst>
            <pc:docMk/>
            <pc:sldMk cId="3901343652" sldId="2444"/>
            <ac:spMk id="2" creationId="{BDD40C88-0A67-F07D-0448-0B320EEBB51C}"/>
          </ac:spMkLst>
        </pc:spChg>
        <pc:spChg chg="del">
          <ac:chgData name="Aurelien Domont" userId="6da7715ce44349b3" providerId="LiveId" clId="{11A41AEF-99CB-47F4-A016-759256902834}" dt="2022-09-20T03:44:05.089" v="528" actId="478"/>
          <ac:spMkLst>
            <pc:docMk/>
            <pc:sldMk cId="3901343652" sldId="2444"/>
            <ac:spMk id="6" creationId="{5E657894-833D-8D63-6224-624169DF702A}"/>
          </ac:spMkLst>
        </pc:spChg>
      </pc:sldChg>
      <pc:sldChg chg="addSp delSp modSp add del mod">
        <pc:chgData name="Aurelien Domont" userId="6da7715ce44349b3" providerId="LiveId" clId="{11A41AEF-99CB-47F4-A016-759256902834}" dt="2022-09-23T05:07:54.537" v="1399" actId="47"/>
        <pc:sldMkLst>
          <pc:docMk/>
          <pc:sldMk cId="647635104" sldId="2445"/>
        </pc:sldMkLst>
        <pc:spChg chg="add mod">
          <ac:chgData name="Aurelien Domont" userId="6da7715ce44349b3" providerId="LiveId" clId="{11A41AEF-99CB-47F4-A016-759256902834}" dt="2022-09-21T02:44:15.318" v="1332" actId="20577"/>
          <ac:spMkLst>
            <pc:docMk/>
            <pc:sldMk cId="647635104" sldId="2445"/>
            <ac:spMk id="2" creationId="{F8045984-9B99-FF84-FBD0-04F2838F96B9}"/>
          </ac:spMkLst>
        </pc:spChg>
        <pc:spChg chg="del">
          <ac:chgData name="Aurelien Domont" userId="6da7715ce44349b3" providerId="LiveId" clId="{11A41AEF-99CB-47F4-A016-759256902834}" dt="2022-09-21T01:18:14.110" v="1239" actId="478"/>
          <ac:spMkLst>
            <pc:docMk/>
            <pc:sldMk cId="647635104" sldId="2445"/>
            <ac:spMk id="7" creationId="{52BB9A26-60E6-840D-3720-CA98EFFD1030}"/>
          </ac:spMkLst>
        </pc:spChg>
        <pc:spChg chg="mod">
          <ac:chgData name="Aurelien Domont" userId="6da7715ce44349b3" providerId="LiveId" clId="{11A41AEF-99CB-47F4-A016-759256902834}" dt="2022-09-21T01:16:24.170" v="1238" actId="20577"/>
          <ac:spMkLst>
            <pc:docMk/>
            <pc:sldMk cId="647635104" sldId="2445"/>
            <ac:spMk id="21" creationId="{04475BBB-2493-447A-9108-B1FDDAAEE739}"/>
          </ac:spMkLst>
        </pc:spChg>
      </pc:sldChg>
      <pc:sldChg chg="add del">
        <pc:chgData name="Aurelien Domont" userId="6da7715ce44349b3" providerId="LiveId" clId="{11A41AEF-99CB-47F4-A016-759256902834}" dt="2022-09-27T02:55:37.360" v="1594" actId="47"/>
        <pc:sldMkLst>
          <pc:docMk/>
          <pc:sldMk cId="2585782179" sldId="2445"/>
        </pc:sldMkLst>
      </pc:sldChg>
      <pc:sldChg chg="delSp modSp add mod ord">
        <pc:chgData name="Aurelien Domont" userId="6da7715ce44349b3" providerId="LiveId" clId="{11A41AEF-99CB-47F4-A016-759256902834}" dt="2022-09-27T03:13:36.169" v="1720" actId="403"/>
        <pc:sldMkLst>
          <pc:docMk/>
          <pc:sldMk cId="2899102171" sldId="2445"/>
        </pc:sldMkLst>
        <pc:spChg chg="mod">
          <ac:chgData name="Aurelien Domont" userId="6da7715ce44349b3" providerId="LiveId" clId="{11A41AEF-99CB-47F4-A016-759256902834}" dt="2022-09-27T03:13:36.169" v="1720" actId="403"/>
          <ac:spMkLst>
            <pc:docMk/>
            <pc:sldMk cId="2899102171" sldId="2445"/>
            <ac:spMk id="16" creationId="{6C2BB713-9637-4B9B-938F-E9768876782A}"/>
          </ac:spMkLst>
        </pc:spChg>
        <pc:spChg chg="del">
          <ac:chgData name="Aurelien Domont" userId="6da7715ce44349b3" providerId="LiveId" clId="{11A41AEF-99CB-47F4-A016-759256902834}" dt="2022-09-27T03:08:21.296" v="1684" actId="478"/>
          <ac:spMkLst>
            <pc:docMk/>
            <pc:sldMk cId="2899102171" sldId="2445"/>
            <ac:spMk id="31" creationId="{80DB5C2A-CB4E-438A-8801-EB0869040D7B}"/>
          </ac:spMkLst>
        </pc:spChg>
        <pc:spChg chg="mod">
          <ac:chgData name="Aurelien Domont" userId="6da7715ce44349b3" providerId="LiveId" clId="{11A41AEF-99CB-47F4-A016-759256902834}" dt="2022-09-27T03:12:51.050" v="1717" actId="1076"/>
          <ac:spMkLst>
            <pc:docMk/>
            <pc:sldMk cId="2899102171" sldId="2445"/>
            <ac:spMk id="54" creationId="{E7D1A9F7-F376-48B5-ACD6-0ECF9A5D6033}"/>
          </ac:spMkLst>
        </pc:spChg>
        <pc:grpChg chg="mod">
          <ac:chgData name="Aurelien Domont" userId="6da7715ce44349b3" providerId="LiveId" clId="{11A41AEF-99CB-47F4-A016-759256902834}" dt="2022-09-27T03:08:30.859" v="1686" actId="1076"/>
          <ac:grpSpMkLst>
            <pc:docMk/>
            <pc:sldMk cId="2899102171" sldId="2445"/>
            <ac:grpSpMk id="2" creationId="{FFCD903C-2A8B-42A0-9428-7FD75FD8204A}"/>
          </ac:grpSpMkLst>
        </pc:grpChg>
      </pc:sldChg>
      <pc:sldChg chg="addSp delSp modSp add mod">
        <pc:chgData name="Aurelien Domont" userId="6da7715ce44349b3" providerId="LiveId" clId="{11A41AEF-99CB-47F4-A016-759256902834}" dt="2022-09-27T03:25:59.248" v="2096" actId="255"/>
        <pc:sldMkLst>
          <pc:docMk/>
          <pc:sldMk cId="1726578224" sldId="2446"/>
        </pc:sldMkLst>
        <pc:spChg chg="add del mod">
          <ac:chgData name="Aurelien Domont" userId="6da7715ce44349b3" providerId="LiveId" clId="{11A41AEF-99CB-47F4-A016-759256902834}" dt="2022-09-27T03:24:33.840" v="2091" actId="478"/>
          <ac:spMkLst>
            <pc:docMk/>
            <pc:sldMk cId="1726578224" sldId="2446"/>
            <ac:spMk id="3" creationId="{FA813A11-DE3B-5275-41DC-C6974175C644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4" creationId="{DA38F1C5-D5AA-57DF-F417-7260DA0D71BD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6" creationId="{22278899-A121-5FD0-7908-D4CD1324233D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7" creationId="{B16D8AA7-CFFB-D29A-3D08-BF2918A87C4F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8" creationId="{AE32CD7C-2FD6-735F-E9E5-D679635A538B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9" creationId="{EC0ABB8A-812E-6EBE-27BD-EB96C49B03B1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0" creationId="{28A09344-C422-4C8D-2174-ECA7AAA45292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1" creationId="{BF6779D4-8D46-C094-3C38-63FF68DC3DFE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2" creationId="{72655653-3303-96D4-A1F3-BB43CCFAE88B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4" creationId="{B3235FF0-B82D-DC5E-CD72-5AF700B650FD}"/>
          </ac:spMkLst>
        </pc:spChg>
        <pc:spChg chg="mod">
          <ac:chgData name="Aurelien Domont" userId="6da7715ce44349b3" providerId="LiveId" clId="{11A41AEF-99CB-47F4-A016-759256902834}" dt="2022-09-27T03:25:59.248" v="2096" actId="255"/>
          <ac:spMkLst>
            <pc:docMk/>
            <pc:sldMk cId="1726578224" sldId="2446"/>
            <ac:spMk id="16" creationId="{6C2BB713-9637-4B9B-938F-E9768876782A}"/>
          </ac:spMkLst>
        </pc:spChg>
        <pc:grpChg chg="del">
          <ac:chgData name="Aurelien Domont" userId="6da7715ce44349b3" providerId="LiveId" clId="{11A41AEF-99CB-47F4-A016-759256902834}" dt="2022-09-27T03:14:21.192" v="1722" actId="478"/>
          <ac:grpSpMkLst>
            <pc:docMk/>
            <pc:sldMk cId="1726578224" sldId="2446"/>
            <ac:grpSpMk id="2" creationId="{FFCD903C-2A8B-42A0-9428-7FD75FD8204A}"/>
          </ac:grpSpMkLst>
        </pc:grpChg>
        <pc:grpChg chg="add mod">
          <ac:chgData name="Aurelien Domont" userId="6da7715ce44349b3" providerId="LiveId" clId="{11A41AEF-99CB-47F4-A016-759256902834}" dt="2022-09-27T03:24:44.958" v="2094" actId="1076"/>
          <ac:grpSpMkLst>
            <pc:docMk/>
            <pc:sldMk cId="1726578224" sldId="2446"/>
            <ac:grpSpMk id="25" creationId="{CB462C79-8412-093A-9B2B-840152A94135}"/>
          </ac:grpSpMkLst>
        </pc:grp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5" creationId="{1F151C2D-20CE-5AFD-75BB-13273F8C7312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7" creationId="{7C3F4119-7B44-A141-73B5-7E013028A473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8" creationId="{4A839221-8371-447D-7122-9C03388B7CE0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9" creationId="{38C0C86F-2356-8492-41CA-D00000E0EE6A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0" creationId="{C92B6958-8F52-14C6-BC28-4031E8185D34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1" creationId="{91238F9D-27CB-2CC3-D005-2A1A1DBD75D8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2" creationId="{FC0D039B-F593-FC2B-0A77-07A4842F2052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3" creationId="{FBFD7149-6747-39B4-1B92-A0E03BDED6CB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4" creationId="{DB17A798-227D-CA68-5972-A748B513F92E}"/>
          </ac:picMkLst>
        </pc:picChg>
      </pc:sldChg>
      <pc:sldChg chg="add del">
        <pc:chgData name="Aurelien Domont" userId="6da7715ce44349b3" providerId="LiveId" clId="{11A41AEF-99CB-47F4-A016-759256902834}" dt="2022-09-27T03:13:18.626" v="1718" actId="47"/>
        <pc:sldMkLst>
          <pc:docMk/>
          <pc:sldMk cId="2224416160" sldId="2446"/>
        </pc:sldMkLst>
      </pc:sldChg>
      <pc:sldChg chg="delSp modSp add mod">
        <pc:chgData name="Aurelien Domont" userId="6da7715ce44349b3" providerId="LiveId" clId="{11A41AEF-99CB-47F4-A016-759256902834}" dt="2022-09-27T03:53:25.770" v="2436" actId="20577"/>
        <pc:sldMkLst>
          <pc:docMk/>
          <pc:sldMk cId="151008928" sldId="2447"/>
        </pc:sldMkLst>
        <pc:spChg chg="del">
          <ac:chgData name="Aurelien Domont" userId="6da7715ce44349b3" providerId="LiveId" clId="{11A41AEF-99CB-47F4-A016-759256902834}" dt="2022-09-27T03:53:03.810" v="2379" actId="478"/>
          <ac:spMkLst>
            <pc:docMk/>
            <pc:sldMk cId="151008928" sldId="2447"/>
            <ac:spMk id="7" creationId="{52BB9A26-60E6-840D-3720-CA98EFFD1030}"/>
          </ac:spMkLst>
        </pc:spChg>
        <pc:spChg chg="mod">
          <ac:chgData name="Aurelien Domont" userId="6da7715ce44349b3" providerId="LiveId" clId="{11A41AEF-99CB-47F4-A016-759256902834}" dt="2022-09-27T03:53:25.770" v="2436" actId="20577"/>
          <ac:spMkLst>
            <pc:docMk/>
            <pc:sldMk cId="151008928" sldId="2447"/>
            <ac:spMk id="16" creationId="{6C2BB713-9637-4B9B-938F-E9768876782A}"/>
          </ac:spMkLst>
        </pc:spChg>
      </pc:sldChg>
      <pc:sldChg chg="add del">
        <pc:chgData name="Aurelien Domont" userId="6da7715ce44349b3" providerId="LiveId" clId="{11A41AEF-99CB-47F4-A016-759256902834}" dt="2022-09-27T03:26:33.053" v="2097" actId="47"/>
        <pc:sldMkLst>
          <pc:docMk/>
          <pc:sldMk cId="3112008435" sldId="2447"/>
        </pc:sldMkLst>
      </pc:sldChg>
      <pc:sldChg chg="modSp add mod">
        <pc:chgData name="Aurelien Domont" userId="6da7715ce44349b3" providerId="LiveId" clId="{11A41AEF-99CB-47F4-A016-759256902834}" dt="2022-09-27T03:59:34.061" v="2441" actId="207"/>
        <pc:sldMkLst>
          <pc:docMk/>
          <pc:sldMk cId="2243650526" sldId="2448"/>
        </pc:sldMkLst>
        <pc:spChg chg="mod">
          <ac:chgData name="Aurelien Domont" userId="6da7715ce44349b3" providerId="LiveId" clId="{11A41AEF-99CB-47F4-A016-759256902834}" dt="2022-09-27T03:59:34.061" v="2441" actId="207"/>
          <ac:spMkLst>
            <pc:docMk/>
            <pc:sldMk cId="2243650526" sldId="2448"/>
            <ac:spMk id="15" creationId="{732724F5-813D-4E0C-955B-93EC1AD01210}"/>
          </ac:spMkLst>
        </pc:spChg>
        <pc:spChg chg="mod">
          <ac:chgData name="Aurelien Domont" userId="6da7715ce44349b3" providerId="LiveId" clId="{11A41AEF-99CB-47F4-A016-759256902834}" dt="2022-09-27T03:59:29.631" v="2440"/>
          <ac:spMkLst>
            <pc:docMk/>
            <pc:sldMk cId="2243650526" sldId="2448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11A41AEF-99CB-47F4-A016-759256902834}" dt="2022-09-27T04:00:23.043" v="2448" actId="20577"/>
        <pc:sldMkLst>
          <pc:docMk/>
          <pc:sldMk cId="159196708" sldId="2449"/>
        </pc:sldMkLst>
        <pc:spChg chg="mod">
          <ac:chgData name="Aurelien Domont" userId="6da7715ce44349b3" providerId="LiveId" clId="{11A41AEF-99CB-47F4-A016-759256902834}" dt="2022-09-27T04:00:18.947" v="2447" actId="108"/>
          <ac:spMkLst>
            <pc:docMk/>
            <pc:sldMk cId="159196708" sldId="2449"/>
            <ac:spMk id="15" creationId="{732724F5-813D-4E0C-955B-93EC1AD01210}"/>
          </ac:spMkLst>
        </pc:spChg>
        <pc:spChg chg="mod">
          <ac:chgData name="Aurelien Domont" userId="6da7715ce44349b3" providerId="LiveId" clId="{11A41AEF-99CB-47F4-A016-759256902834}" dt="2022-09-27T04:00:23.043" v="2448" actId="20577"/>
          <ac:spMkLst>
            <pc:docMk/>
            <pc:sldMk cId="159196708" sldId="2449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7T04:00:16.422" v="2446" actId="207"/>
          <ac:spMkLst>
            <pc:docMk/>
            <pc:sldMk cId="159196708" sldId="2449"/>
            <ac:spMk id="17" creationId="{BAEEACBE-E39A-4BC1-B55D-166857BB1CEC}"/>
          </ac:spMkLst>
        </pc:spChg>
      </pc:sldChg>
      <pc:sldChg chg="modSp add mod">
        <pc:chgData name="Aurelien Domont" userId="6da7715ce44349b3" providerId="LiveId" clId="{11A41AEF-99CB-47F4-A016-759256902834}" dt="2022-09-27T04:00:36.432" v="2452" actId="108"/>
        <pc:sldMkLst>
          <pc:docMk/>
          <pc:sldMk cId="1863804147" sldId="2450"/>
        </pc:sldMkLst>
        <pc:spChg chg="mod">
          <ac:chgData name="Aurelien Domont" userId="6da7715ce44349b3" providerId="LiveId" clId="{11A41AEF-99CB-47F4-A016-759256902834}" dt="2022-09-27T04:00:29.951" v="2450" actId="20577"/>
          <ac:spMkLst>
            <pc:docMk/>
            <pc:sldMk cId="1863804147" sldId="2450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7T04:00:36.432" v="2452" actId="108"/>
          <ac:spMkLst>
            <pc:docMk/>
            <pc:sldMk cId="1863804147" sldId="2450"/>
            <ac:spMk id="17" creationId="{BAEEACBE-E39A-4BC1-B55D-166857BB1CEC}"/>
          </ac:spMkLst>
        </pc:spChg>
        <pc:spChg chg="mod">
          <ac:chgData name="Aurelien Domont" userId="6da7715ce44349b3" providerId="LiveId" clId="{11A41AEF-99CB-47F4-A016-759256902834}" dt="2022-09-27T04:00:33.484" v="2451" actId="207"/>
          <ac:spMkLst>
            <pc:docMk/>
            <pc:sldMk cId="1863804147" sldId="2450"/>
            <ac:spMk id="23" creationId="{28367C24-9AE2-0620-1A38-DBDEA6B16085}"/>
          </ac:spMkLst>
        </pc:spChg>
      </pc:sldChg>
      <pc:sldChg chg="modSp add mod">
        <pc:chgData name="Aurelien Domont" userId="6da7715ce44349b3" providerId="LiveId" clId="{11A41AEF-99CB-47F4-A016-759256902834}" dt="2022-09-27T04:00:45.837" v="2455" actId="108"/>
        <pc:sldMkLst>
          <pc:docMk/>
          <pc:sldMk cId="2930203392" sldId="2451"/>
        </pc:sldMkLst>
        <pc:spChg chg="mod">
          <ac:chgData name="Aurelien Domont" userId="6da7715ce44349b3" providerId="LiveId" clId="{11A41AEF-99CB-47F4-A016-759256902834}" dt="2022-09-27T04:00:43.568" v="2454" actId="207"/>
          <ac:spMkLst>
            <pc:docMk/>
            <pc:sldMk cId="2930203392" sldId="2451"/>
            <ac:spMk id="3" creationId="{90A5CC39-924F-B560-B361-10BCCFC27B3E}"/>
          </ac:spMkLst>
        </pc:spChg>
        <pc:spChg chg="mod">
          <ac:chgData name="Aurelien Domont" userId="6da7715ce44349b3" providerId="LiveId" clId="{11A41AEF-99CB-47F4-A016-759256902834}" dt="2022-09-27T04:00:45.837" v="2455" actId="108"/>
          <ac:spMkLst>
            <pc:docMk/>
            <pc:sldMk cId="2930203392" sldId="2451"/>
            <ac:spMk id="23" creationId="{28367C24-9AE2-0620-1A38-DBDEA6B16085}"/>
          </ac:spMkLst>
        </pc:spChg>
      </pc:sldChg>
      <pc:sldChg chg="modSp add mod">
        <pc:chgData name="Aurelien Domont" userId="6da7715ce44349b3" providerId="LiveId" clId="{11A41AEF-99CB-47F4-A016-759256902834}" dt="2022-09-27T04:00:55.794" v="2458" actId="207"/>
        <pc:sldMkLst>
          <pc:docMk/>
          <pc:sldMk cId="367941284" sldId="2452"/>
        </pc:sldMkLst>
        <pc:spChg chg="mod">
          <ac:chgData name="Aurelien Domont" userId="6da7715ce44349b3" providerId="LiveId" clId="{11A41AEF-99CB-47F4-A016-759256902834}" dt="2022-09-27T04:00:55.794" v="2458" actId="207"/>
          <ac:spMkLst>
            <pc:docMk/>
            <pc:sldMk cId="367941284" sldId="2452"/>
            <ac:spMk id="3" creationId="{90A5CC39-924F-B560-B361-10BCCFC27B3E}"/>
          </ac:spMkLst>
        </pc:spChg>
        <pc:spChg chg="mod">
          <ac:chgData name="Aurelien Domont" userId="6da7715ce44349b3" providerId="LiveId" clId="{11A41AEF-99CB-47F4-A016-759256902834}" dt="2022-09-27T04:00:52.998" v="2457" actId="207"/>
          <ac:spMkLst>
            <pc:docMk/>
            <pc:sldMk cId="367941284" sldId="2452"/>
            <ac:spMk id="4" creationId="{8218B653-FC0A-1710-77DA-0AC271D02501}"/>
          </ac:spMkLst>
        </pc:spChg>
      </pc:sldChg>
      <pc:sldChg chg="add">
        <pc:chgData name="Aurelien Domont" userId="6da7715ce44349b3" providerId="LiveId" clId="{11A41AEF-99CB-47F4-A016-759256902834}" dt="2022-09-27T04:04:31.659" v="2461"/>
        <pc:sldMkLst>
          <pc:docMk/>
          <pc:sldMk cId="2431379762" sldId="2453"/>
        </pc:sldMkLst>
      </pc:sldChg>
      <pc:sldChg chg="add">
        <pc:chgData name="Aurelien Domont" userId="6da7715ce44349b3" providerId="LiveId" clId="{11A41AEF-99CB-47F4-A016-759256902834}" dt="2022-09-27T04:04:31.659" v="2461"/>
        <pc:sldMkLst>
          <pc:docMk/>
          <pc:sldMk cId="175885422" sldId="2454"/>
        </pc:sldMkLst>
      </pc:sldChg>
      <pc:sldChg chg="add del">
        <pc:chgData name="Aurelien Domont" userId="6da7715ce44349b3" providerId="LiveId" clId="{11A41AEF-99CB-47F4-A016-759256902834}" dt="2022-09-27T04:05:47.743" v="2464"/>
        <pc:sldMkLst>
          <pc:docMk/>
          <pc:sldMk cId="161153257" sldId="2455"/>
        </pc:sldMkLst>
      </pc:sldChg>
      <pc:sldChg chg="add">
        <pc:chgData name="Aurelien Domont" userId="6da7715ce44349b3" providerId="LiveId" clId="{11A41AEF-99CB-47F4-A016-759256902834}" dt="2022-09-27T04:05:47.743" v="2464"/>
        <pc:sldMkLst>
          <pc:docMk/>
          <pc:sldMk cId="2986325070" sldId="2456"/>
        </pc:sldMkLst>
      </pc:sldChg>
      <pc:sldChg chg="add">
        <pc:chgData name="Aurelien Domont" userId="6da7715ce44349b3" providerId="LiveId" clId="{11A41AEF-99CB-47F4-A016-759256902834}" dt="2022-09-27T04:05:47.743" v="2464"/>
        <pc:sldMkLst>
          <pc:docMk/>
          <pc:sldMk cId="2276314714" sldId="2457"/>
        </pc:sldMkLst>
      </pc:sldChg>
      <pc:sldChg chg="add">
        <pc:chgData name="Aurelien Domont" userId="6da7715ce44349b3" providerId="LiveId" clId="{11A41AEF-99CB-47F4-A016-759256902834}" dt="2022-09-27T04:10:49.150" v="2465"/>
        <pc:sldMkLst>
          <pc:docMk/>
          <pc:sldMk cId="1420773026" sldId="2458"/>
        </pc:sldMkLst>
      </pc:sldChg>
      <pc:sldChg chg="addSp modSp add del mod">
        <pc:chgData name="Aurelien Domont" userId="6da7715ce44349b3" providerId="LiveId" clId="{11A41AEF-99CB-47F4-A016-759256902834}" dt="2022-09-27T06:46:04.219" v="2491" actId="47"/>
        <pc:sldMkLst>
          <pc:docMk/>
          <pc:sldMk cId="3507447479" sldId="2459"/>
        </pc:sldMkLst>
        <pc:spChg chg="add mod">
          <ac:chgData name="Aurelien Domont" userId="6da7715ce44349b3" providerId="LiveId" clId="{11A41AEF-99CB-47F4-A016-759256902834}" dt="2022-09-27T06:40:38.640" v="2489" actId="13822"/>
          <ac:spMkLst>
            <pc:docMk/>
            <pc:sldMk cId="3507447479" sldId="2459"/>
            <ac:spMk id="2" creationId="{799EE4AC-F8CA-495D-71C9-AD69D6706DDE}"/>
          </ac:spMkLst>
        </pc:spChg>
        <pc:spChg chg="mod">
          <ac:chgData name="Aurelien Domont" userId="6da7715ce44349b3" providerId="LiveId" clId="{11A41AEF-99CB-47F4-A016-759256902834}" dt="2022-09-27T06:40:44.656" v="2490" actId="12"/>
          <ac:spMkLst>
            <pc:docMk/>
            <pc:sldMk cId="3507447479" sldId="2459"/>
            <ac:spMk id="7" creationId="{F79D136A-64A2-4C49-9EE6-43915E022B73}"/>
          </ac:spMkLst>
        </pc:spChg>
      </pc:sldChg>
    </pc:docChg>
  </pc:docChgLst>
  <pc:docChgLst>
    <pc:chgData name="Aurelien Domont" userId="6da7715ce44349b3" providerId="LiveId" clId="{C18CC5C4-3AAC-491D-9097-885406CBF5DB}"/>
    <pc:docChg chg="custSel addSld delSld modSld">
      <pc:chgData name="Aurelien Domont" userId="6da7715ce44349b3" providerId="LiveId" clId="{C18CC5C4-3AAC-491D-9097-885406CBF5DB}" dt="2021-05-04T04:11:38.160" v="272" actId="478"/>
      <pc:docMkLst>
        <pc:docMk/>
      </pc:docMkLst>
      <pc:sldChg chg="modSp mod">
        <pc:chgData name="Aurelien Domont" userId="6da7715ce44349b3" providerId="LiveId" clId="{C18CC5C4-3AAC-491D-9097-885406CBF5DB}" dt="2021-05-04T03:22:26.865" v="21" actId="20577"/>
        <pc:sldMkLst>
          <pc:docMk/>
          <pc:sldMk cId="3131901387" sldId="256"/>
        </pc:sldMkLst>
        <pc:spChg chg="mod">
          <ac:chgData name="Aurelien Domont" userId="6da7715ce44349b3" providerId="LiveId" clId="{C18CC5C4-3AAC-491D-9097-885406CBF5DB}" dt="2021-05-04T03:22:26.865" v="21" actId="20577"/>
          <ac:spMkLst>
            <pc:docMk/>
            <pc:sldMk cId="3131901387" sldId="256"/>
            <ac:spMk id="2" creationId="{5261080C-C60C-4746-B6B1-A9A4FFA86785}"/>
          </ac:spMkLst>
        </pc:spChg>
      </pc:sldChg>
      <pc:sldChg chg="del">
        <pc:chgData name="Aurelien Domont" userId="6da7715ce44349b3" providerId="LiveId" clId="{C18CC5C4-3AAC-491D-9097-885406CBF5DB}" dt="2021-05-04T03:29:51.423" v="270" actId="47"/>
        <pc:sldMkLst>
          <pc:docMk/>
          <pc:sldMk cId="3692499981" sldId="1597"/>
        </pc:sldMkLst>
      </pc:sldChg>
      <pc:sldChg chg="del">
        <pc:chgData name="Aurelien Domont" userId="6da7715ce44349b3" providerId="LiveId" clId="{C18CC5C4-3AAC-491D-9097-885406CBF5DB}" dt="2021-05-04T03:29:41.764" v="269" actId="47"/>
        <pc:sldMkLst>
          <pc:docMk/>
          <pc:sldMk cId="1754585881" sldId="1598"/>
        </pc:sldMkLst>
      </pc:sldChg>
      <pc:sldChg chg="del">
        <pc:chgData name="Aurelien Domont" userId="6da7715ce44349b3" providerId="LiveId" clId="{C18CC5C4-3AAC-491D-9097-885406CBF5DB}" dt="2021-05-04T03:29:41.764" v="269" actId="47"/>
        <pc:sldMkLst>
          <pc:docMk/>
          <pc:sldMk cId="748962572" sldId="1599"/>
        </pc:sldMkLst>
      </pc:sldChg>
      <pc:sldChg chg="del">
        <pc:chgData name="Aurelien Domont" userId="6da7715ce44349b3" providerId="LiveId" clId="{C18CC5C4-3AAC-491D-9097-885406CBF5DB}" dt="2021-05-04T03:29:41.764" v="269" actId="47"/>
        <pc:sldMkLst>
          <pc:docMk/>
          <pc:sldMk cId="2853806433" sldId="1600"/>
        </pc:sldMkLst>
      </pc:sldChg>
      <pc:sldChg chg="modSp mod">
        <pc:chgData name="Aurelien Domont" userId="6da7715ce44349b3" providerId="LiveId" clId="{C18CC5C4-3AAC-491D-9097-885406CBF5DB}" dt="2021-05-04T03:28:04.054" v="247" actId="20577"/>
        <pc:sldMkLst>
          <pc:docMk/>
          <pc:sldMk cId="3324303879" sldId="1917"/>
        </pc:sldMkLst>
        <pc:spChg chg="mod">
          <ac:chgData name="Aurelien Domont" userId="6da7715ce44349b3" providerId="LiveId" clId="{C18CC5C4-3AAC-491D-9097-885406CBF5DB}" dt="2021-05-04T03:28:04.054" v="247" actId="20577"/>
          <ac:spMkLst>
            <pc:docMk/>
            <pc:sldMk cId="3324303879" sldId="1917"/>
            <ac:spMk id="14" creationId="{956AA4B1-A1E2-4421-8BDC-FFA14C801B6B}"/>
          </ac:spMkLst>
        </pc:spChg>
        <pc:spChg chg="mod">
          <ac:chgData name="Aurelien Domont" userId="6da7715ce44349b3" providerId="LiveId" clId="{C18CC5C4-3AAC-491D-9097-885406CBF5DB}" dt="2021-05-04T03:24:41.474" v="69" actId="20577"/>
          <ac:spMkLst>
            <pc:docMk/>
            <pc:sldMk cId="3324303879" sldId="1917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C18CC5C4-3AAC-491D-9097-885406CBF5DB}" dt="2021-05-04T03:24:04.586" v="51" actId="313"/>
        <pc:sldMkLst>
          <pc:docMk/>
          <pc:sldMk cId="1872329668" sldId="1923"/>
        </pc:sldMkLst>
        <pc:spChg chg="mod">
          <ac:chgData name="Aurelien Domont" userId="6da7715ce44349b3" providerId="LiveId" clId="{C18CC5C4-3AAC-491D-9097-885406CBF5DB}" dt="2021-05-04T03:24:04.586" v="51" actId="313"/>
          <ac:spMkLst>
            <pc:docMk/>
            <pc:sldMk cId="1872329668" sldId="1923"/>
            <ac:spMk id="14" creationId="{C9800183-F524-4412-AB39-A6E1A21FF0B3}"/>
          </ac:spMkLst>
        </pc:spChg>
      </pc:sldChg>
      <pc:sldChg chg="delSp modSp mod">
        <pc:chgData name="Aurelien Domont" userId="6da7715ce44349b3" providerId="LiveId" clId="{C18CC5C4-3AAC-491D-9097-885406CBF5DB}" dt="2021-05-04T04:11:38.160" v="272" actId="478"/>
        <pc:sldMkLst>
          <pc:docMk/>
          <pc:sldMk cId="1659127470" sldId="1924"/>
        </pc:sldMkLst>
        <pc:spChg chg="del">
          <ac:chgData name="Aurelien Domont" userId="6da7715ce44349b3" providerId="LiveId" clId="{C18CC5C4-3AAC-491D-9097-885406CBF5DB}" dt="2021-05-04T04:11:38.160" v="272" actId="478"/>
          <ac:spMkLst>
            <pc:docMk/>
            <pc:sldMk cId="1659127470" sldId="1924"/>
            <ac:spMk id="2" creationId="{47EAB931-197A-40BB-B426-D6D65C61BAA2}"/>
          </ac:spMkLst>
        </pc:spChg>
        <pc:spChg chg="mod">
          <ac:chgData name="Aurelien Domont" userId="6da7715ce44349b3" providerId="LiveId" clId="{C18CC5C4-3AAC-491D-9097-885406CBF5DB}" dt="2021-05-04T03:28:53.465" v="267" actId="20577"/>
          <ac:spMkLst>
            <pc:docMk/>
            <pc:sldMk cId="1659127470" sldId="1924"/>
            <ac:spMk id="16" creationId="{6C2BB713-9637-4B9B-938F-E9768876782A}"/>
          </ac:spMkLst>
        </pc:spChg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3274212698" sldId="1925"/>
        </pc:sldMkLst>
      </pc:sldChg>
      <pc:sldChg chg="add del">
        <pc:chgData name="Aurelien Domont" userId="6da7715ce44349b3" providerId="LiveId" clId="{C18CC5C4-3AAC-491D-9097-885406CBF5DB}" dt="2021-05-04T03:30:17.302" v="271" actId="47"/>
        <pc:sldMkLst>
          <pc:docMk/>
          <pc:sldMk cId="3028091984" sldId="2146"/>
        </pc:sldMkLst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4057054822" sldId="2147"/>
        </pc:sldMkLst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4208437711" sldId="2148"/>
        </pc:sldMkLst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1289725493" sldId="2149"/>
        </pc:sldMkLst>
      </pc:sldChg>
    </pc:docChg>
  </pc:docChgLst>
  <pc:docChgLst>
    <pc:chgData name="Aurelien Domont" userId="6da7715ce44349b3" providerId="LiveId" clId="{A31B6E7A-4C8B-4688-A47B-88935FEF0E5E}"/>
    <pc:docChg chg="undo redo custSel addSld delSld modSld sldOrd modMainMaster">
      <pc:chgData name="Aurelien Domont" userId="6da7715ce44349b3" providerId="LiveId" clId="{A31B6E7A-4C8B-4688-A47B-88935FEF0E5E}" dt="2022-09-09T04:49:27.940" v="5147" actId="20577"/>
      <pc:docMkLst>
        <pc:docMk/>
      </pc:docMkLst>
      <pc:sldChg chg="modSp del mod">
        <pc:chgData name="Aurelien Domont" userId="6da7715ce44349b3" providerId="LiveId" clId="{A31B6E7A-4C8B-4688-A47B-88935FEF0E5E}" dt="2021-07-20T00:46:30.555" v="2931" actId="47"/>
        <pc:sldMkLst>
          <pc:docMk/>
          <pc:sldMk cId="3131901387" sldId="256"/>
        </pc:sldMkLst>
        <pc:spChg chg="mod">
          <ac:chgData name="Aurelien Domont" userId="6da7715ce44349b3" providerId="LiveId" clId="{A31B6E7A-4C8B-4688-A47B-88935FEF0E5E}" dt="2021-07-14T01:26:12.798" v="0"/>
          <ac:spMkLst>
            <pc:docMk/>
            <pc:sldMk cId="3131901387" sldId="256"/>
            <ac:spMk id="2" creationId="{5261080C-C60C-4746-B6B1-A9A4FFA86785}"/>
          </ac:spMkLst>
        </pc:spChg>
      </pc:sldChg>
      <pc:sldChg chg="modSp add del mod">
        <pc:chgData name="Aurelien Domont" userId="6da7715ce44349b3" providerId="LiveId" clId="{A31B6E7A-4C8B-4688-A47B-88935FEF0E5E}" dt="2022-08-18T05:51:50.774" v="4489" actId="208"/>
        <pc:sldMkLst>
          <pc:docMk/>
          <pc:sldMk cId="1397809860" sldId="1499"/>
        </pc:sldMkLst>
        <pc:cxnChg chg="mod">
          <ac:chgData name="Aurelien Domont" userId="6da7715ce44349b3" providerId="LiveId" clId="{A31B6E7A-4C8B-4688-A47B-88935FEF0E5E}" dt="2022-08-18T05:51:47.680" v="4488" actId="208"/>
          <ac:cxnSpMkLst>
            <pc:docMk/>
            <pc:sldMk cId="1397809860" sldId="1499"/>
            <ac:cxnSpMk id="8" creationId="{38635D47-71BC-4408-9BB9-3CB38F1037D8}"/>
          </ac:cxnSpMkLst>
        </pc:cxnChg>
        <pc:cxnChg chg="mod">
          <ac:chgData name="Aurelien Domont" userId="6da7715ce44349b3" providerId="LiveId" clId="{A31B6E7A-4C8B-4688-A47B-88935FEF0E5E}" dt="2022-08-18T05:51:47.680" v="4488" actId="208"/>
          <ac:cxnSpMkLst>
            <pc:docMk/>
            <pc:sldMk cId="1397809860" sldId="1499"/>
            <ac:cxnSpMk id="9" creationId="{8EEF5A5E-69DC-4450-BCCB-82F0B486673C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18" creationId="{EADB9350-AA05-41AB-BD43-D721D1F89535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19" creationId="{0E52B779-997A-4CE1-B44C-88A76DEA89CE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0" creationId="{844636A1-19B4-42FD-A987-FB924BEE30C1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1" creationId="{3B5907D6-914B-4353-B81C-051AFA2A836D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2" creationId="{7DAA6AFB-F5AD-47E8-B62F-56081C9AC535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3" creationId="{D3786C36-C0A2-4925-B5C3-ED221FF47D32}"/>
          </ac:cxnSpMkLst>
        </pc:cxnChg>
      </pc:sldChg>
      <pc:sldChg chg="modSp add del">
        <pc:chgData name="Aurelien Domont" userId="6da7715ce44349b3" providerId="LiveId" clId="{A31B6E7A-4C8B-4688-A47B-88935FEF0E5E}" dt="2022-08-18T05:38:00.731" v="4448" actId="47"/>
        <pc:sldMkLst>
          <pc:docMk/>
          <pc:sldMk cId="3022188194" sldId="1518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22188194" sldId="1518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22188194" sldId="1518"/>
            <ac:spMk id="14" creationId="{C9800183-F524-4412-AB39-A6E1A21FF0B3}"/>
          </ac:spMkLst>
        </pc:spChg>
      </pc:sldChg>
      <pc:sldChg chg="modSp add del">
        <pc:chgData name="Aurelien Domont" userId="6da7715ce44349b3" providerId="LiveId" clId="{A31B6E7A-4C8B-4688-A47B-88935FEF0E5E}" dt="2022-08-18T05:38:45.339" v="4449" actId="47"/>
        <pc:sldMkLst>
          <pc:docMk/>
          <pc:sldMk cId="3626764693" sldId="1523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626764693" sldId="1523"/>
            <ac:spMk id="2" creationId="{406113FD-AA7D-4249-90D7-70AF85BE48E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626764693" sldId="1523"/>
            <ac:spMk id="9" creationId="{A4C0187A-3E85-4C87-AB6B-7D4F4276FE07}"/>
          </ac:spMkLst>
        </pc:spChg>
        <pc:spChg chg="mod">
          <ac:chgData name="Aurelien Domont" userId="6da7715ce44349b3" providerId="LiveId" clId="{A31B6E7A-4C8B-4688-A47B-88935FEF0E5E}" dt="2022-02-24T05:14:04.583" v="2981"/>
          <ac:spMkLst>
            <pc:docMk/>
            <pc:sldMk cId="3626764693" sldId="1523"/>
            <ac:spMk id="52" creationId="{65C86C5B-C6F5-457A-ABB0-97AAFF8D1E1F}"/>
          </ac:spMkLst>
        </pc:spChg>
      </pc:sldChg>
      <pc:sldChg chg="addSp modSp add del">
        <pc:chgData name="Aurelien Domont" userId="6da7715ce44349b3" providerId="LiveId" clId="{A31B6E7A-4C8B-4688-A47B-88935FEF0E5E}" dt="2022-08-18T05:38:00.731" v="4448" actId="47"/>
        <pc:sldMkLst>
          <pc:docMk/>
          <pc:sldMk cId="729552457" sldId="1580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729552457" sldId="1580"/>
            <ac:spMk id="2" creationId="{7E59BDBC-013A-4F26-9A6C-B3762BFDD4CF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729552457" sldId="1580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2:58:44.164" v="1566"/>
          <ac:spMkLst>
            <pc:docMk/>
            <pc:sldMk cId="729552457" sldId="1580"/>
            <ac:spMk id="19" creationId="{A19AB205-59A1-48D4-936E-01C037A87113}"/>
          </ac:spMkLst>
        </pc:spChg>
        <pc:spChg chg="mod">
          <ac:chgData name="Aurelien Domont" userId="6da7715ce44349b3" providerId="LiveId" clId="{A31B6E7A-4C8B-4688-A47B-88935FEF0E5E}" dt="2021-07-19T22:58:44.164" v="1566"/>
          <ac:spMkLst>
            <pc:docMk/>
            <pc:sldMk cId="729552457" sldId="1580"/>
            <ac:spMk id="20" creationId="{F05C7239-0F60-4962-8D67-8F1412EF8DA0}"/>
          </ac:spMkLst>
        </pc:spChg>
        <pc:grpChg chg="add mod">
          <ac:chgData name="Aurelien Domont" userId="6da7715ce44349b3" providerId="LiveId" clId="{A31B6E7A-4C8B-4688-A47B-88935FEF0E5E}" dt="2021-07-19T22:58:44.164" v="1566"/>
          <ac:grpSpMkLst>
            <pc:docMk/>
            <pc:sldMk cId="729552457" sldId="1580"/>
            <ac:grpSpMk id="18" creationId="{581FD7C2-8956-41B1-B0DF-89C44A2028BE}"/>
          </ac:grpSpMkLst>
        </pc:grpChg>
        <pc:cxnChg chg="mod">
          <ac:chgData name="Aurelien Domont" userId="6da7715ce44349b3" providerId="LiveId" clId="{A31B6E7A-4C8B-4688-A47B-88935FEF0E5E}" dt="2021-07-19T22:58:44.164" v="1566"/>
          <ac:cxnSpMkLst>
            <pc:docMk/>
            <pc:sldMk cId="729552457" sldId="1580"/>
            <ac:cxnSpMk id="21" creationId="{23C932E1-19F5-422A-9A8E-D4712B94426B}"/>
          </ac:cxnSpMkLst>
        </pc:cxnChg>
        <pc:cxnChg chg="mod">
          <ac:chgData name="Aurelien Domont" userId="6da7715ce44349b3" providerId="LiveId" clId="{A31B6E7A-4C8B-4688-A47B-88935FEF0E5E}" dt="2021-07-19T22:58:44.164" v="1566"/>
          <ac:cxnSpMkLst>
            <pc:docMk/>
            <pc:sldMk cId="729552457" sldId="1580"/>
            <ac:cxnSpMk id="22" creationId="{4CA7B70D-25C1-42E6-85B9-8808BA8019A7}"/>
          </ac:cxnSpMkLst>
        </pc:cxnChg>
      </pc:sldChg>
      <pc:sldChg chg="modSp add del">
        <pc:chgData name="Aurelien Domont" userId="6da7715ce44349b3" providerId="LiveId" clId="{A31B6E7A-4C8B-4688-A47B-88935FEF0E5E}" dt="2022-08-18T05:42:09.071" v="4467" actId="47"/>
        <pc:sldMkLst>
          <pc:docMk/>
          <pc:sldMk cId="3574508233" sldId="1592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574508233" sldId="1592"/>
            <ac:spMk id="2" creationId="{406113FD-AA7D-4249-90D7-70AF85BE48E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574508233" sldId="1592"/>
            <ac:spMk id="9" creationId="{A4C0187A-3E85-4C87-AB6B-7D4F4276FE07}"/>
          </ac:spMkLst>
        </pc:spChg>
        <pc:spChg chg="mod">
          <ac:chgData name="Aurelien Domont" userId="6da7715ce44349b3" providerId="LiveId" clId="{A31B6E7A-4C8B-4688-A47B-88935FEF0E5E}" dt="2022-02-24T05:18:16.203" v="2994"/>
          <ac:spMkLst>
            <pc:docMk/>
            <pc:sldMk cId="3574508233" sldId="1592"/>
            <ac:spMk id="43" creationId="{C9100A1A-761C-4617-B7DA-6CAFCA4B7CC4}"/>
          </ac:spMkLst>
        </pc:spChg>
        <pc:spChg chg="mod">
          <ac:chgData name="Aurelien Domont" userId="6da7715ce44349b3" providerId="LiveId" clId="{A31B6E7A-4C8B-4688-A47B-88935FEF0E5E}" dt="2022-02-24T05:18:20.668" v="2995"/>
          <ac:spMkLst>
            <pc:docMk/>
            <pc:sldMk cId="3574508233" sldId="1592"/>
            <ac:spMk id="48" creationId="{60BB99F9-EA5C-4411-8F14-964FE9D889F1}"/>
          </ac:spMkLst>
        </pc:spChg>
      </pc:sldChg>
      <pc:sldChg chg="add del">
        <pc:chgData name="Aurelien Domont" userId="6da7715ce44349b3" providerId="LiveId" clId="{A31B6E7A-4C8B-4688-A47B-88935FEF0E5E}" dt="2022-02-24T05:21:04.456" v="3003"/>
        <pc:sldMkLst>
          <pc:docMk/>
          <pc:sldMk cId="1754585881" sldId="1598"/>
        </pc:sldMkLst>
      </pc:sldChg>
      <pc:sldChg chg="add">
        <pc:chgData name="Aurelien Domont" userId="6da7715ce44349b3" providerId="LiveId" clId="{A31B6E7A-4C8B-4688-A47B-88935FEF0E5E}" dt="2022-02-24T05:21:04.456" v="3003"/>
        <pc:sldMkLst>
          <pc:docMk/>
          <pc:sldMk cId="2853806433" sldId="1600"/>
        </pc:sldMkLst>
      </pc:sldChg>
      <pc:sldChg chg="add del">
        <pc:chgData name="Aurelien Domont" userId="6da7715ce44349b3" providerId="LiveId" clId="{A31B6E7A-4C8B-4688-A47B-88935FEF0E5E}" dt="2022-08-18T05:40:11.598" v="4451"/>
        <pc:sldMkLst>
          <pc:docMk/>
          <pc:sldMk cId="3155553022" sldId="1609"/>
        </pc:sldMkLst>
      </pc:sldChg>
      <pc:sldChg chg="add del">
        <pc:chgData name="Aurelien Domont" userId="6da7715ce44349b3" providerId="LiveId" clId="{A31B6E7A-4C8B-4688-A47B-88935FEF0E5E}" dt="2021-07-19T23:47:50.744" v="1776"/>
        <pc:sldMkLst>
          <pc:docMk/>
          <pc:sldMk cId="1136850133" sldId="1611"/>
        </pc:sldMkLst>
      </pc:sldChg>
      <pc:sldChg chg="delSp add del mod">
        <pc:chgData name="Aurelien Domont" userId="6da7715ce44349b3" providerId="LiveId" clId="{A31B6E7A-4C8B-4688-A47B-88935FEF0E5E}" dt="2022-08-18T06:02:29.085" v="4490" actId="478"/>
        <pc:sldMkLst>
          <pc:docMk/>
          <pc:sldMk cId="2419878592" sldId="1628"/>
        </pc:sldMkLst>
        <pc:spChg chg="del">
          <ac:chgData name="Aurelien Domont" userId="6da7715ce44349b3" providerId="LiveId" clId="{A31B6E7A-4C8B-4688-A47B-88935FEF0E5E}" dt="2022-08-18T06:02:29.085" v="4490" actId="478"/>
          <ac:spMkLst>
            <pc:docMk/>
            <pc:sldMk cId="2419878592" sldId="1628"/>
            <ac:spMk id="49" creationId="{B466CD11-54C5-4547-83B4-BB99352A84D3}"/>
          </ac:spMkLst>
        </pc:spChg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998433835" sldId="1668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998433835" sldId="1668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998433835" sldId="1668"/>
            <ac:spMk id="14" creationId="{C9800183-F524-4412-AB39-A6E1A21FF0B3}"/>
          </ac:spMkLst>
        </pc:spChg>
      </pc:sldChg>
      <pc:sldChg chg="modSp add del ord">
        <pc:chgData name="Aurelien Domont" userId="6da7715ce44349b3" providerId="LiveId" clId="{A31B6E7A-4C8B-4688-A47B-88935FEF0E5E}" dt="2022-08-18T06:57:03.009" v="4927" actId="47"/>
        <pc:sldMkLst>
          <pc:docMk/>
          <pc:sldMk cId="3768669745" sldId="1688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68669745" sldId="1688"/>
            <ac:spMk id="4" creationId="{6F7AE37A-9246-4985-8F29-8D68449D9F28}"/>
          </ac:spMkLst>
        </pc:spChg>
      </pc:sldChg>
      <pc:sldChg chg="modSp add ord">
        <pc:chgData name="Aurelien Domont" userId="6da7715ce44349b3" providerId="LiveId" clId="{A31B6E7A-4C8B-4688-A47B-88935FEF0E5E}" dt="2022-08-18T05:40:54.243" v="4460"/>
        <pc:sldMkLst>
          <pc:docMk/>
          <pc:sldMk cId="3868864511" sldId="1689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868864511" sldId="1689"/>
            <ac:spMk id="4" creationId="{6F7AE37A-9246-4985-8F29-8D68449D9F28}"/>
          </ac:spMkLst>
        </pc:spChg>
        <pc:spChg chg="mod">
          <ac:chgData name="Aurelien Domont" userId="6da7715ce44349b3" providerId="LiveId" clId="{A31B6E7A-4C8B-4688-A47B-88935FEF0E5E}" dt="2022-02-24T05:16:19.362" v="2989"/>
          <ac:spMkLst>
            <pc:docMk/>
            <pc:sldMk cId="3868864511" sldId="1689"/>
            <ac:spMk id="67" creationId="{F4293FF7-7351-4A35-9079-34E5E28EA0AA}"/>
          </ac:spMkLst>
        </pc:spChg>
      </pc:sldChg>
      <pc:sldChg chg="delSp modSp add mod ord">
        <pc:chgData name="Aurelien Domont" userId="6da7715ce44349b3" providerId="LiveId" clId="{A31B6E7A-4C8B-4688-A47B-88935FEF0E5E}" dt="2022-08-18T07:04:10.413" v="4940" actId="478"/>
        <pc:sldMkLst>
          <pc:docMk/>
          <pc:sldMk cId="3113701062" sldId="1690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113701062" sldId="1690"/>
            <ac:spMk id="4" creationId="{6F7AE37A-9246-4985-8F29-8D68449D9F28}"/>
          </ac:spMkLst>
        </pc:spChg>
        <pc:spChg chg="del">
          <ac:chgData name="Aurelien Domont" userId="6da7715ce44349b3" providerId="LiveId" clId="{A31B6E7A-4C8B-4688-A47B-88935FEF0E5E}" dt="2022-08-18T07:04:10.413" v="4940" actId="478"/>
          <ac:spMkLst>
            <pc:docMk/>
            <pc:sldMk cId="3113701062" sldId="1690"/>
            <ac:spMk id="67" creationId="{F4293FF7-7351-4A35-9079-34E5E28EA0AA}"/>
          </ac:spMkLst>
        </pc:spChg>
      </pc:sldChg>
      <pc:sldChg chg="addSp delSp modSp add mod">
        <pc:chgData name="Aurelien Domont" userId="6da7715ce44349b3" providerId="LiveId" clId="{A31B6E7A-4C8B-4688-A47B-88935FEF0E5E}" dt="2022-08-18T05:35:33.448" v="4440"/>
        <pc:sldMkLst>
          <pc:docMk/>
          <pc:sldMk cId="450634587" sldId="1691"/>
        </pc:sldMkLst>
        <pc:spChg chg="mod">
          <ac:chgData name="Aurelien Domont" userId="6da7715ce44349b3" providerId="LiveId" clId="{A31B6E7A-4C8B-4688-A47B-88935FEF0E5E}" dt="2021-07-19T22:51:17.349" v="1560" actId="20577"/>
          <ac:spMkLst>
            <pc:docMk/>
            <pc:sldMk cId="450634587" sldId="1691"/>
            <ac:spMk id="2" creationId="{406113FD-AA7D-4249-90D7-70AF85BE48E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50634587" sldId="1691"/>
            <ac:spMk id="4" creationId="{6F7AE37A-9246-4985-8F29-8D68449D9F28}"/>
          </ac:spMkLst>
        </pc:spChg>
        <pc:spChg chg="add del mod">
          <ac:chgData name="Aurelien Domont" userId="6da7715ce44349b3" providerId="LiveId" clId="{A31B6E7A-4C8B-4688-A47B-88935FEF0E5E}" dt="2021-07-16T06:04:05.986" v="501" actId="478"/>
          <ac:spMkLst>
            <pc:docMk/>
            <pc:sldMk cId="450634587" sldId="1691"/>
            <ac:spMk id="16" creationId="{CCCEFE62-F5EE-4DF4-A986-B8E9F76993D3}"/>
          </ac:spMkLst>
        </pc:spChg>
        <pc:spChg chg="mod">
          <ac:chgData name="Aurelien Domont" userId="6da7715ce44349b3" providerId="LiveId" clId="{A31B6E7A-4C8B-4688-A47B-88935FEF0E5E}" dt="2022-08-17T03:00:11.438" v="4304" actId="20577"/>
          <ac:spMkLst>
            <pc:docMk/>
            <pc:sldMk cId="450634587" sldId="1691"/>
            <ac:spMk id="29" creationId="{A98A9FF3-B907-4688-9918-B08480D84ED5}"/>
          </ac:spMkLst>
        </pc:spChg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3015103750" sldId="1692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3015103750" sldId="1692"/>
            <ac:spMk id="2" creationId="{A67BEC9B-911F-478E-9C56-72957F18467D}"/>
          </ac:spMkLst>
        </pc:spChg>
      </pc:sldChg>
      <pc:sldChg chg="add del">
        <pc:chgData name="Aurelien Domont" userId="6da7715ce44349b3" providerId="LiveId" clId="{A31B6E7A-4C8B-4688-A47B-88935FEF0E5E}" dt="2022-02-24T05:21:04.456" v="3003"/>
        <pc:sldMkLst>
          <pc:docMk/>
          <pc:sldMk cId="1252826214" sldId="1711"/>
        </pc:sldMkLst>
      </pc:sldChg>
      <pc:sldChg chg="modSp add del mod">
        <pc:chgData name="Aurelien Domont" userId="6da7715ce44349b3" providerId="LiveId" clId="{A31B6E7A-4C8B-4688-A47B-88935FEF0E5E}" dt="2022-08-18T07:02:01.673" v="4929" actId="20577"/>
        <pc:sldMkLst>
          <pc:docMk/>
          <pc:sldMk cId="1392754280" sldId="1737"/>
        </pc:sldMkLst>
        <pc:spChg chg="mod">
          <ac:chgData name="Aurelien Domont" userId="6da7715ce44349b3" providerId="LiveId" clId="{A31B6E7A-4C8B-4688-A47B-88935FEF0E5E}" dt="2022-08-18T07:02:01.673" v="4929" actId="20577"/>
          <ac:spMkLst>
            <pc:docMk/>
            <pc:sldMk cId="1392754280" sldId="1737"/>
            <ac:spMk id="9" creationId="{D29D7605-6465-4974-B6EC-A124010967C8}"/>
          </ac:spMkLst>
        </pc:spChg>
      </pc:sldChg>
      <pc:sldChg chg="del">
        <pc:chgData name="Aurelien Domont" userId="6da7715ce44349b3" providerId="LiveId" clId="{A31B6E7A-4C8B-4688-A47B-88935FEF0E5E}" dt="2021-07-16T06:28:50.614" v="681" actId="47"/>
        <pc:sldMkLst>
          <pc:docMk/>
          <pc:sldMk cId="3022188194" sldId="1922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235018652" sldId="1927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802743741" sldId="1929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784211076" sldId="1931"/>
        </pc:sldMkLst>
      </pc:sldChg>
      <pc:sldChg chg="del">
        <pc:chgData name="Aurelien Domont" userId="6da7715ce44349b3" providerId="LiveId" clId="{A31B6E7A-4C8B-4688-A47B-88935FEF0E5E}" dt="2021-07-19T23:54:45.353" v="1922" actId="47"/>
        <pc:sldMkLst>
          <pc:docMk/>
          <pc:sldMk cId="2974049731" sldId="1979"/>
        </pc:sldMkLst>
      </pc:sldChg>
      <pc:sldChg chg="del">
        <pc:chgData name="Aurelien Domont" userId="6da7715ce44349b3" providerId="LiveId" clId="{A31B6E7A-4C8B-4688-A47B-88935FEF0E5E}" dt="2021-07-19T23:54:48.683" v="1923" actId="47"/>
        <pc:sldMkLst>
          <pc:docMk/>
          <pc:sldMk cId="3998626003" sldId="1980"/>
        </pc:sldMkLst>
      </pc:sldChg>
      <pc:sldChg chg="del">
        <pc:chgData name="Aurelien Domont" userId="6da7715ce44349b3" providerId="LiveId" clId="{A31B6E7A-4C8B-4688-A47B-88935FEF0E5E}" dt="2021-07-20T00:03:08.675" v="2070" actId="47"/>
        <pc:sldMkLst>
          <pc:docMk/>
          <pc:sldMk cId="1026744296" sldId="1986"/>
        </pc:sldMkLst>
      </pc:sldChg>
      <pc:sldChg chg="add">
        <pc:chgData name="Aurelien Domont" userId="6da7715ce44349b3" providerId="LiveId" clId="{A31B6E7A-4C8B-4688-A47B-88935FEF0E5E}" dt="2022-08-18T05:49:41.970" v="4474"/>
        <pc:sldMkLst>
          <pc:docMk/>
          <pc:sldMk cId="1752228771" sldId="1993"/>
        </pc:sldMkLst>
      </pc:sldChg>
      <pc:sldChg chg="modSp add del mod">
        <pc:chgData name="Aurelien Domont" userId="6da7715ce44349b3" providerId="LiveId" clId="{A31B6E7A-4C8B-4688-A47B-88935FEF0E5E}" dt="2022-02-24T05:21:04.456" v="3003"/>
        <pc:sldMkLst>
          <pc:docMk/>
          <pc:sldMk cId="3938337455" sldId="2034"/>
        </pc:sldMkLst>
        <pc:spChg chg="mod">
          <ac:chgData name="Aurelien Domont" userId="6da7715ce44349b3" providerId="LiveId" clId="{A31B6E7A-4C8B-4688-A47B-88935FEF0E5E}" dt="2021-10-06T03:47:50.075" v="2936"/>
          <ac:spMkLst>
            <pc:docMk/>
            <pc:sldMk cId="3938337455" sldId="2034"/>
            <ac:spMk id="48" creationId="{971D573A-5304-4C92-8CB7-47985CE6549D}"/>
          </ac:spMkLst>
        </pc:spChg>
      </pc:sldChg>
      <pc:sldChg chg="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1762358644" sldId="213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762358644" sldId="2135"/>
            <ac:spMk id="2" creationId="{7837E1C4-A2D7-4558-A504-36AC8920218D}"/>
          </ac:spMkLst>
        </pc:spChg>
        <pc:spChg chg="del">
          <ac:chgData name="Aurelien Domont" userId="6da7715ce44349b3" providerId="LiveId" clId="{A31B6E7A-4C8B-4688-A47B-88935FEF0E5E}" dt="2021-07-19T23:38:24.625" v="1677" actId="478"/>
          <ac:spMkLst>
            <pc:docMk/>
            <pc:sldMk cId="1762358644" sldId="2135"/>
            <ac:spMk id="6" creationId="{555FE4A9-C2AC-4D3F-B982-6D76EC31BDAB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762358644" sldId="2135"/>
            <ac:spMk id="16" creationId="{6C2BB713-9637-4B9B-938F-E9768876782A}"/>
          </ac:spMkLst>
        </pc:spChg>
      </pc:sldChg>
      <pc:sldChg chg="addSp 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3771996314" sldId="2136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71996314" sldId="2136"/>
            <ac:spMk id="2" creationId="{7837E1C4-A2D7-4558-A504-36AC8920218D}"/>
          </ac:spMkLst>
        </pc:spChg>
        <pc:spChg chg="mod">
          <ac:chgData name="Aurelien Domont" userId="6da7715ce44349b3" providerId="LiveId" clId="{A31B6E7A-4C8B-4688-A47B-88935FEF0E5E}" dt="2021-07-19T23:42:18.448" v="1763" actId="1036"/>
          <ac:spMkLst>
            <pc:docMk/>
            <pc:sldMk cId="3771996314" sldId="2136"/>
            <ac:spMk id="6" creationId="{4C013FBE-E58F-46F9-A25D-42C80D8670E8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71996314" sldId="2136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9T23:38:29.125" v="1679" actId="478"/>
          <ac:spMkLst>
            <pc:docMk/>
            <pc:sldMk cId="3771996314" sldId="2136"/>
            <ac:spMk id="19" creationId="{3E9FA1DB-D615-4E49-9E2C-645D9E315554}"/>
          </ac:spMkLst>
        </pc:spChg>
        <pc:spChg chg="mod">
          <ac:chgData name="Aurelien Domont" userId="6da7715ce44349b3" providerId="LiveId" clId="{A31B6E7A-4C8B-4688-A47B-88935FEF0E5E}" dt="2021-07-19T23:42:09.934" v="1736"/>
          <ac:spMkLst>
            <pc:docMk/>
            <pc:sldMk cId="3771996314" sldId="2136"/>
            <ac:spMk id="21" creationId="{A0BDDE06-DDED-4435-B474-F3B398C7D9AB}"/>
          </ac:spMkLst>
        </pc:spChg>
        <pc:spChg chg="mod">
          <ac:chgData name="Aurelien Domont" userId="6da7715ce44349b3" providerId="LiveId" clId="{A31B6E7A-4C8B-4688-A47B-88935FEF0E5E}" dt="2021-07-19T23:42:09.934" v="1736"/>
          <ac:spMkLst>
            <pc:docMk/>
            <pc:sldMk cId="3771996314" sldId="2136"/>
            <ac:spMk id="23" creationId="{A1B01E5A-6151-4B3C-A158-8966052A9485}"/>
          </ac:spMkLst>
        </pc:spChg>
        <pc:spChg chg="mod">
          <ac:chgData name="Aurelien Domont" userId="6da7715ce44349b3" providerId="LiveId" clId="{A31B6E7A-4C8B-4688-A47B-88935FEF0E5E}" dt="2021-07-19T23:42:18.448" v="1763" actId="1036"/>
          <ac:spMkLst>
            <pc:docMk/>
            <pc:sldMk cId="3771996314" sldId="2136"/>
            <ac:spMk id="27" creationId="{930E2C01-65F3-4A5D-B086-8C34B5BCB9EB}"/>
          </ac:spMkLst>
        </pc:spChg>
        <pc:grpChg chg="add mod">
          <ac:chgData name="Aurelien Domont" userId="6da7715ce44349b3" providerId="LiveId" clId="{A31B6E7A-4C8B-4688-A47B-88935FEF0E5E}" dt="2021-07-19T23:42:09.934" v="1736"/>
          <ac:grpSpMkLst>
            <pc:docMk/>
            <pc:sldMk cId="3771996314" sldId="2136"/>
            <ac:grpSpMk id="20" creationId="{4C611102-7083-4FD3-9748-6790C1D7CF12}"/>
          </ac:grpSpMkLst>
        </pc:grpChg>
        <pc:graphicFrameChg chg="add del">
          <ac:chgData name="Aurelien Domont" userId="6da7715ce44349b3" providerId="LiveId" clId="{A31B6E7A-4C8B-4688-A47B-88935FEF0E5E}" dt="2022-02-24T05:15:52.856" v="2988"/>
          <ac:graphicFrameMkLst>
            <pc:docMk/>
            <pc:sldMk cId="3771996314" sldId="2136"/>
            <ac:graphicFrameMk id="3" creationId="{1134C07E-90E2-4327-8164-A34F222DC603}"/>
          </ac:graphicFrameMkLst>
        </pc:graphicFrameChg>
        <pc:graphicFrameChg chg="del mod">
          <ac:chgData name="Aurelien Domont" userId="6da7715ce44349b3" providerId="LiveId" clId="{A31B6E7A-4C8B-4688-A47B-88935FEF0E5E}" dt="2022-02-24T05:15:49.927" v="2987"/>
          <ac:graphicFrameMkLst>
            <pc:docMk/>
            <pc:sldMk cId="3771996314" sldId="2136"/>
            <ac:graphicFrameMk id="24" creationId="{1134C07E-90E2-4327-8164-A34F222DC603}"/>
          </ac:graphicFrameMkLst>
        </pc:graphicFrameChg>
        <pc:cxnChg chg="mod">
          <ac:chgData name="Aurelien Domont" userId="6da7715ce44349b3" providerId="LiveId" clId="{A31B6E7A-4C8B-4688-A47B-88935FEF0E5E}" dt="2021-07-19T23:42:09.934" v="1736"/>
          <ac:cxnSpMkLst>
            <pc:docMk/>
            <pc:sldMk cId="3771996314" sldId="2136"/>
            <ac:cxnSpMk id="25" creationId="{B1258B5F-E1B8-4CC9-A470-1BF01033A22F}"/>
          </ac:cxnSpMkLst>
        </pc:cxnChg>
        <pc:cxnChg chg="mod">
          <ac:chgData name="Aurelien Domont" userId="6da7715ce44349b3" providerId="LiveId" clId="{A31B6E7A-4C8B-4688-A47B-88935FEF0E5E}" dt="2021-07-19T23:42:09.934" v="1736"/>
          <ac:cxnSpMkLst>
            <pc:docMk/>
            <pc:sldMk cId="3771996314" sldId="2136"/>
            <ac:cxnSpMk id="26" creationId="{31A6E6B4-16CC-48D0-80FC-AFD4A3A23CB4}"/>
          </ac:cxnSpMkLst>
        </pc:cxnChg>
      </pc:sldChg>
      <pc:sldChg chg="add del">
        <pc:chgData name="Aurelien Domont" userId="6da7715ce44349b3" providerId="LiveId" clId="{A31B6E7A-4C8B-4688-A47B-88935FEF0E5E}" dt="2022-02-24T05:21:04.456" v="3003"/>
        <pc:sldMkLst>
          <pc:docMk/>
          <pc:sldMk cId="1926619926" sldId="2147"/>
        </pc:sldMkLst>
      </pc:sldChg>
      <pc:sldChg chg="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1389783291" sldId="2149"/>
        </pc:sldMkLst>
        <pc:spChg chg="mod">
          <ac:chgData name="Aurelien Domont" userId="6da7715ce44349b3" providerId="LiveId" clId="{A31B6E7A-4C8B-4688-A47B-88935FEF0E5E}" dt="2021-07-19T23:41:41.446" v="1727" actId="20577"/>
          <ac:spMkLst>
            <pc:docMk/>
            <pc:sldMk cId="1389783291" sldId="2149"/>
            <ac:spMk id="8" creationId="{BF61102C-BCA7-4CBF-AA08-2A8190D41E84}"/>
          </ac:spMkLst>
        </pc:spChg>
        <pc:spChg chg="del">
          <ac:chgData name="Aurelien Domont" userId="6da7715ce44349b3" providerId="LiveId" clId="{A31B6E7A-4C8B-4688-A47B-88935FEF0E5E}" dt="2021-07-19T23:38:21.948" v="1676" actId="478"/>
          <ac:spMkLst>
            <pc:docMk/>
            <pc:sldMk cId="1389783291" sldId="2149"/>
            <ac:spMk id="13" creationId="{4DE0082E-6DAD-4C36-B90B-9CFDA2264BB9}"/>
          </ac:spMkLst>
        </pc:spChg>
      </pc:sldChg>
      <pc:sldChg chg="addSp 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3425249046" sldId="2151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5249046" sldId="2151"/>
            <ac:spMk id="2" creationId="{7837E1C4-A2D7-4558-A504-36AC8920218D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5249046" sldId="2151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9T23:38:26.608" v="1678" actId="478"/>
          <ac:spMkLst>
            <pc:docMk/>
            <pc:sldMk cId="3425249046" sldId="2151"/>
            <ac:spMk id="21" creationId="{AC96648C-9325-4CD7-BE61-4651581E3F0C}"/>
          </ac:spMkLst>
        </pc:spChg>
        <pc:spChg chg="mod">
          <ac:chgData name="Aurelien Domont" userId="6da7715ce44349b3" providerId="LiveId" clId="{A31B6E7A-4C8B-4688-A47B-88935FEF0E5E}" dt="2021-07-19T23:42:01.187" v="1728"/>
          <ac:spMkLst>
            <pc:docMk/>
            <pc:sldMk cId="3425249046" sldId="2151"/>
            <ac:spMk id="24" creationId="{2BE597E5-5970-4846-B797-1D4A39477566}"/>
          </ac:spMkLst>
        </pc:spChg>
        <pc:spChg chg="mod">
          <ac:chgData name="Aurelien Domont" userId="6da7715ce44349b3" providerId="LiveId" clId="{A31B6E7A-4C8B-4688-A47B-88935FEF0E5E}" dt="2021-07-19T23:42:05.108" v="1735" actId="20577"/>
          <ac:spMkLst>
            <pc:docMk/>
            <pc:sldMk cId="3425249046" sldId="2151"/>
            <ac:spMk id="26" creationId="{FDB3A66E-AD67-4051-ACE9-FF8AD7304F76}"/>
          </ac:spMkLst>
        </pc:spChg>
        <pc:grpChg chg="add mod">
          <ac:chgData name="Aurelien Domont" userId="6da7715ce44349b3" providerId="LiveId" clId="{A31B6E7A-4C8B-4688-A47B-88935FEF0E5E}" dt="2021-07-19T23:42:01.187" v="1728"/>
          <ac:grpSpMkLst>
            <pc:docMk/>
            <pc:sldMk cId="3425249046" sldId="2151"/>
            <ac:grpSpMk id="23" creationId="{48A7D312-8418-4EA2-B155-F50D54D5FEE3}"/>
          </ac:grpSpMkLst>
        </pc:grpChg>
        <pc:cxnChg chg="mod">
          <ac:chgData name="Aurelien Domont" userId="6da7715ce44349b3" providerId="LiveId" clId="{A31B6E7A-4C8B-4688-A47B-88935FEF0E5E}" dt="2021-07-19T23:42:01.187" v="1728"/>
          <ac:cxnSpMkLst>
            <pc:docMk/>
            <pc:sldMk cId="3425249046" sldId="2151"/>
            <ac:cxnSpMk id="27" creationId="{1E1DC767-31DF-4CA9-B537-2C23E38F0862}"/>
          </ac:cxnSpMkLst>
        </pc:cxnChg>
        <pc:cxnChg chg="mod">
          <ac:chgData name="Aurelien Domont" userId="6da7715ce44349b3" providerId="LiveId" clId="{A31B6E7A-4C8B-4688-A47B-88935FEF0E5E}" dt="2021-07-19T23:42:01.187" v="1728"/>
          <ac:cxnSpMkLst>
            <pc:docMk/>
            <pc:sldMk cId="3425249046" sldId="2151"/>
            <ac:cxnSpMk id="40" creationId="{5A3A1400-E164-4884-80FC-4FDD7C0234F6}"/>
          </ac:cxnSpMkLst>
        </pc:cxnChg>
      </pc:sldChg>
      <pc:sldChg chg="modSp add del mod">
        <pc:chgData name="Aurelien Domont" userId="6da7715ce44349b3" providerId="LiveId" clId="{A31B6E7A-4C8B-4688-A47B-88935FEF0E5E}" dt="2022-08-18T05:35:33.448" v="4440"/>
        <pc:sldMkLst>
          <pc:docMk/>
          <pc:sldMk cId="1073937120" sldId="2160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073937120" sldId="2160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073937120" sldId="2160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20T00:23:57.195" v="2853" actId="20577"/>
          <ac:spMkLst>
            <pc:docMk/>
            <pc:sldMk cId="1073937120" sldId="2160"/>
            <ac:spMk id="31" creationId="{80DB5C2A-CB4E-438A-8801-EB0869040D7B}"/>
          </ac:spMkLst>
        </pc:spChg>
        <pc:spChg chg="mod">
          <ac:chgData name="Aurelien Domont" userId="6da7715ce44349b3" providerId="LiveId" clId="{A31B6E7A-4C8B-4688-A47B-88935FEF0E5E}" dt="2021-07-20T00:26:15.198" v="2854" actId="20577"/>
          <ac:spMkLst>
            <pc:docMk/>
            <pc:sldMk cId="1073937120" sldId="2160"/>
            <ac:spMk id="51" creationId="{7E31ED7F-C9D6-48C3-B1F3-EC53DABCBEF6}"/>
          </ac:spMkLst>
        </pc:spChg>
      </pc:sldChg>
      <pc:sldChg chg="addSp delSp modSp del mod">
        <pc:chgData name="Aurelien Domont" userId="6da7715ce44349b3" providerId="LiveId" clId="{A31B6E7A-4C8B-4688-A47B-88935FEF0E5E}" dt="2022-08-12T02:42:16.407" v="3005" actId="47"/>
        <pc:sldMkLst>
          <pc:docMk/>
          <pc:sldMk cId="3193088531" sldId="2164"/>
        </pc:sldMkLst>
        <pc:spChg chg="add del mod">
          <ac:chgData name="Aurelien Domont" userId="6da7715ce44349b3" providerId="LiveId" clId="{A31B6E7A-4C8B-4688-A47B-88935FEF0E5E}" dt="2021-07-19T07:24:33.437" v="1558" actId="478"/>
          <ac:spMkLst>
            <pc:docMk/>
            <pc:sldMk cId="3193088531" sldId="2164"/>
            <ac:spMk id="2" creationId="{598293A2-DEA1-4D3D-860B-0259CDD162B9}"/>
          </ac:spMkLst>
        </pc:spChg>
        <pc:spChg chg="add del mod">
          <ac:chgData name="Aurelien Domont" userId="6da7715ce44349b3" providerId="LiveId" clId="{A31B6E7A-4C8B-4688-A47B-88935FEF0E5E}" dt="2021-07-16T01:25:23.830" v="465" actId="478"/>
          <ac:spMkLst>
            <pc:docMk/>
            <pc:sldMk cId="3193088531" sldId="2164"/>
            <ac:spMk id="2" creationId="{9499BD4D-267A-4A1C-863D-8C51C02E048B}"/>
          </ac:spMkLst>
        </pc:spChg>
        <pc:spChg chg="add del mod">
          <ac:chgData name="Aurelien Domont" userId="6da7715ce44349b3" providerId="LiveId" clId="{A31B6E7A-4C8B-4688-A47B-88935FEF0E5E}" dt="2021-07-16T06:03:46.411" v="498" actId="478"/>
          <ac:spMkLst>
            <pc:docMk/>
            <pc:sldMk cId="3193088531" sldId="2164"/>
            <ac:spMk id="14" creationId="{E2A5BBDA-2278-49C5-AD3F-633B08FB9550}"/>
          </ac:spMkLst>
        </pc:spChg>
        <pc:spChg chg="mod">
          <ac:chgData name="Aurelien Domont" userId="6da7715ce44349b3" providerId="LiveId" clId="{A31B6E7A-4C8B-4688-A47B-88935FEF0E5E}" dt="2021-07-19T06:10:31.091" v="1479" actId="20577"/>
          <ac:spMkLst>
            <pc:docMk/>
            <pc:sldMk cId="3193088531" sldId="2164"/>
            <ac:spMk id="15" creationId="{732724F5-813D-4E0C-955B-93EC1AD01210}"/>
          </ac:spMkLst>
        </pc:spChg>
        <pc:spChg chg="mod">
          <ac:chgData name="Aurelien Domont" userId="6da7715ce44349b3" providerId="LiveId" clId="{A31B6E7A-4C8B-4688-A47B-88935FEF0E5E}" dt="2021-07-16T03:17:13.033" v="493" actId="20577"/>
          <ac:spMkLst>
            <pc:docMk/>
            <pc:sldMk cId="3193088531" sldId="2164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4T01:31:56.167" v="4"/>
          <ac:spMkLst>
            <pc:docMk/>
            <pc:sldMk cId="3193088531" sldId="2164"/>
            <ac:spMk id="17" creationId="{BAEEACBE-E39A-4BC1-B55D-166857BB1CEC}"/>
          </ac:spMkLst>
        </pc:spChg>
        <pc:spChg chg="mod">
          <ac:chgData name="Aurelien Domont" userId="6da7715ce44349b3" providerId="LiveId" clId="{A31B6E7A-4C8B-4688-A47B-88935FEF0E5E}" dt="2021-07-19T06:50:30.968" v="1513"/>
          <ac:spMkLst>
            <pc:docMk/>
            <pc:sldMk cId="3193088531" sldId="2164"/>
            <ac:spMk id="18" creationId="{FCD01D50-6898-4F94-A2D3-151F072B5E6A}"/>
          </ac:spMkLst>
        </pc:spChg>
        <pc:spChg chg="add del mod">
          <ac:chgData name="Aurelien Domont" userId="6da7715ce44349b3" providerId="LiveId" clId="{A31B6E7A-4C8B-4688-A47B-88935FEF0E5E}" dt="2021-07-16T01:25:23.830" v="465" actId="478"/>
          <ac:spMkLst>
            <pc:docMk/>
            <pc:sldMk cId="3193088531" sldId="2164"/>
            <ac:spMk id="19" creationId="{511C77B7-ED54-42E7-A12C-1B6F98E26963}"/>
          </ac:spMkLst>
        </pc:spChg>
        <pc:spChg chg="add del mod">
          <ac:chgData name="Aurelien Domont" userId="6da7715ce44349b3" providerId="LiveId" clId="{A31B6E7A-4C8B-4688-A47B-88935FEF0E5E}" dt="2021-07-16T01:06:05.807" v="463" actId="478"/>
          <ac:spMkLst>
            <pc:docMk/>
            <pc:sldMk cId="3193088531" sldId="2164"/>
            <ac:spMk id="20" creationId="{EE8DDC61-FACA-478C-A09C-D4BD0638C9F5}"/>
          </ac:spMkLst>
        </pc:spChg>
        <pc:spChg chg="mod">
          <ac:chgData name="Aurelien Domont" userId="6da7715ce44349b3" providerId="LiveId" clId="{A31B6E7A-4C8B-4688-A47B-88935FEF0E5E}" dt="2021-07-16T00:23:58.769" v="459" actId="20577"/>
          <ac:spMkLst>
            <pc:docMk/>
            <pc:sldMk cId="3193088531" sldId="2164"/>
            <ac:spMk id="21" creationId="{04475BBB-2493-447A-9108-B1FDDAAEE739}"/>
          </ac:spMkLst>
        </pc:spChg>
        <pc:spChg chg="mod">
          <ac:chgData name="Aurelien Domont" userId="6da7715ce44349b3" providerId="LiveId" clId="{A31B6E7A-4C8B-4688-A47B-88935FEF0E5E}" dt="2022-02-24T05:10:19.855" v="2965"/>
          <ac:spMkLst>
            <pc:docMk/>
            <pc:sldMk cId="3193088531" sldId="2164"/>
            <ac:spMk id="22" creationId="{BFED4C53-91DC-4B0E-A0FE-AEA7E1F6E302}"/>
          </ac:spMkLst>
        </pc:spChg>
        <pc:spChg chg="mod">
          <ac:chgData name="Aurelien Domont" userId="6da7715ce44349b3" providerId="LiveId" clId="{A31B6E7A-4C8B-4688-A47B-88935FEF0E5E}" dt="2022-02-24T05:11:03.395" v="2976"/>
          <ac:spMkLst>
            <pc:docMk/>
            <pc:sldMk cId="3193088531" sldId="2164"/>
            <ac:spMk id="23" creationId="{06434AF8-353F-4315-B496-98AFB94390E4}"/>
          </ac:spMkLst>
        </pc:spChg>
      </pc:sldChg>
      <pc:sldChg chg="addSp delSp modSp mod">
        <pc:chgData name="Aurelien Domont" userId="6da7715ce44349b3" providerId="LiveId" clId="{A31B6E7A-4C8B-4688-A47B-88935FEF0E5E}" dt="2022-08-18T06:25:56.785" v="4675" actId="2"/>
        <pc:sldMkLst>
          <pc:docMk/>
          <pc:sldMk cId="2400249224" sldId="2165"/>
        </pc:sldMkLst>
        <pc:spChg chg="add mod">
          <ac:chgData name="Aurelien Domont" userId="6da7715ce44349b3" providerId="LiveId" clId="{A31B6E7A-4C8B-4688-A47B-88935FEF0E5E}" dt="2022-08-18T06:22:25.964" v="4601" actId="404"/>
          <ac:spMkLst>
            <pc:docMk/>
            <pc:sldMk cId="2400249224" sldId="2165"/>
            <ac:spMk id="2" creationId="{4BAF9F7D-47E8-EDF1-1824-769E8EFCA114}"/>
          </ac:spMkLst>
        </pc:spChg>
        <pc:spChg chg="add del mod">
          <ac:chgData name="Aurelien Domont" userId="6da7715ce44349b3" providerId="LiveId" clId="{A31B6E7A-4C8B-4688-A47B-88935FEF0E5E}" dt="2021-07-20T00:12:20.796" v="2309" actId="478"/>
          <ac:spMkLst>
            <pc:docMk/>
            <pc:sldMk cId="2400249224" sldId="2165"/>
            <ac:spMk id="2" creationId="{515E2493-7A26-40B2-87D5-57C3D01ADF87}"/>
          </ac:spMkLst>
        </pc:spChg>
        <pc:spChg chg="add del mod">
          <ac:chgData name="Aurelien Domont" userId="6da7715ce44349b3" providerId="LiveId" clId="{A31B6E7A-4C8B-4688-A47B-88935FEF0E5E}" dt="2022-08-18T06:18:32.012" v="4511" actId="478"/>
          <ac:spMkLst>
            <pc:docMk/>
            <pc:sldMk cId="2400249224" sldId="2165"/>
            <ac:spMk id="2" creationId="{741AA85E-9A73-F17A-6055-0DEF8814ED9E}"/>
          </ac:spMkLst>
        </pc:spChg>
        <pc:spChg chg="add mod">
          <ac:chgData name="Aurelien Domont" userId="6da7715ce44349b3" providerId="LiveId" clId="{A31B6E7A-4C8B-4688-A47B-88935FEF0E5E}" dt="2022-08-18T06:23:32.934" v="4651" actId="1037"/>
          <ac:spMkLst>
            <pc:docMk/>
            <pc:sldMk cId="2400249224" sldId="2165"/>
            <ac:spMk id="3" creationId="{A7619B0E-C844-84A5-D687-60EFAA245FF6}"/>
          </ac:spMkLst>
        </pc:spChg>
        <pc:spChg chg="add mod">
          <ac:chgData name="Aurelien Domont" userId="6da7715ce44349b3" providerId="LiveId" clId="{A31B6E7A-4C8B-4688-A47B-88935FEF0E5E}" dt="2022-08-18T06:22:59.335" v="4619" actId="404"/>
          <ac:spMkLst>
            <pc:docMk/>
            <pc:sldMk cId="2400249224" sldId="2165"/>
            <ac:spMk id="6" creationId="{5F8230BF-13EE-DB66-4345-A0388B905300}"/>
          </ac:spMkLst>
        </pc:spChg>
        <pc:spChg chg="add mod">
          <ac:chgData name="Aurelien Domont" userId="6da7715ce44349b3" providerId="LiveId" clId="{A31B6E7A-4C8B-4688-A47B-88935FEF0E5E}" dt="2022-08-18T06:20:30.003" v="4565" actId="1037"/>
          <ac:spMkLst>
            <pc:docMk/>
            <pc:sldMk cId="2400249224" sldId="2165"/>
            <ac:spMk id="7" creationId="{599C8FDD-0CC4-114B-452C-C21BC13BBC14}"/>
          </ac:spMkLst>
        </pc:spChg>
        <pc:spChg chg="add mod">
          <ac:chgData name="Aurelien Domont" userId="6da7715ce44349b3" providerId="LiveId" clId="{A31B6E7A-4C8B-4688-A47B-88935FEF0E5E}" dt="2022-08-18T06:22:59.335" v="4619" actId="404"/>
          <ac:spMkLst>
            <pc:docMk/>
            <pc:sldMk cId="2400249224" sldId="2165"/>
            <ac:spMk id="9" creationId="{971121C4-049C-8929-C03D-B4C13B223921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10" creationId="{664D79BC-D3BC-43AD-5FE6-1DBBCAC02136}"/>
          </ac:spMkLst>
        </pc:spChg>
        <pc:spChg chg="add mod">
          <ac:chgData name="Aurelien Domont" userId="6da7715ce44349b3" providerId="LiveId" clId="{A31B6E7A-4C8B-4688-A47B-88935FEF0E5E}" dt="2022-08-18T06:23:45.925" v="4653"/>
          <ac:spMkLst>
            <pc:docMk/>
            <pc:sldMk cId="2400249224" sldId="2165"/>
            <ac:spMk id="11" creationId="{33B34409-FFF5-BC5A-AC6A-BEBB5DCE01EB}"/>
          </ac:spMkLst>
        </pc:spChg>
        <pc:spChg chg="del mod">
          <ac:chgData name="Aurelien Domont" userId="6da7715ce44349b3" providerId="LiveId" clId="{A31B6E7A-4C8B-4688-A47B-88935FEF0E5E}" dt="2022-08-18T06:18:32.012" v="4511" actId="478"/>
          <ac:spMkLst>
            <pc:docMk/>
            <pc:sldMk cId="2400249224" sldId="2165"/>
            <ac:spMk id="11" creationId="{C945D0E4-EB22-47D2-A223-70BD240B1835}"/>
          </ac:spMkLst>
        </pc:spChg>
        <pc:spChg chg="mod">
          <ac:chgData name="Aurelien Domont" userId="6da7715ce44349b3" providerId="LiveId" clId="{A31B6E7A-4C8B-4688-A47B-88935FEF0E5E}" dt="2022-08-18T06:24:07.466" v="4658" actId="20577"/>
          <ac:spMkLst>
            <pc:docMk/>
            <pc:sldMk cId="2400249224" sldId="2165"/>
            <ac:spMk id="12" creationId="{823B4944-65C4-4BB1-9DFE-E40E286EE30D}"/>
          </ac:spMkLst>
        </pc:spChg>
        <pc:spChg chg="add mod">
          <ac:chgData name="Aurelien Domont" userId="6da7715ce44349b3" providerId="LiveId" clId="{A31B6E7A-4C8B-4688-A47B-88935FEF0E5E}" dt="2022-08-18T06:23:58.385" v="4655"/>
          <ac:spMkLst>
            <pc:docMk/>
            <pc:sldMk cId="2400249224" sldId="2165"/>
            <ac:spMk id="15" creationId="{80B8A30C-E311-9743-C2AD-6C066A9B2E38}"/>
          </ac:spMkLst>
        </pc:spChg>
        <pc:spChg chg="mod">
          <ac:chgData name="Aurelien Domont" userId="6da7715ce44349b3" providerId="LiveId" clId="{A31B6E7A-4C8B-4688-A47B-88935FEF0E5E}" dt="2022-08-18T06:25:56.785" v="4675" actId="2"/>
          <ac:spMkLst>
            <pc:docMk/>
            <pc:sldMk cId="2400249224" sldId="2165"/>
            <ac:spMk id="16" creationId="{6C2BB713-9637-4B9B-938F-E9768876782A}"/>
          </ac:spMkLst>
        </pc:spChg>
        <pc:spChg chg="add mod">
          <ac:chgData name="Aurelien Domont" userId="6da7715ce44349b3" providerId="LiveId" clId="{A31B6E7A-4C8B-4688-A47B-88935FEF0E5E}" dt="2022-08-18T06:24:42.098" v="4669" actId="1037"/>
          <ac:spMkLst>
            <pc:docMk/>
            <pc:sldMk cId="2400249224" sldId="2165"/>
            <ac:spMk id="17" creationId="{D5650C65-A487-8E64-099E-C33C57094B80}"/>
          </ac:spMkLst>
        </pc:spChg>
        <pc:spChg chg="mod">
          <ac:chgData name="Aurelien Domont" userId="6da7715ce44349b3" providerId="LiveId" clId="{A31B6E7A-4C8B-4688-A47B-88935FEF0E5E}" dt="2022-08-18T06:23:04.354" v="4621" actId="20577"/>
          <ac:spMkLst>
            <pc:docMk/>
            <pc:sldMk cId="2400249224" sldId="2165"/>
            <ac:spMk id="18" creationId="{88429D78-7296-4BC5-B009-22D19FB81666}"/>
          </ac:spMkLst>
        </pc:spChg>
        <pc:spChg chg="add mod">
          <ac:chgData name="Aurelien Domont" userId="6da7715ce44349b3" providerId="LiveId" clId="{A31B6E7A-4C8B-4688-A47B-88935FEF0E5E}" dt="2022-08-18T06:24:34.936" v="4662"/>
          <ac:spMkLst>
            <pc:docMk/>
            <pc:sldMk cId="2400249224" sldId="2165"/>
            <ac:spMk id="19" creationId="{50576D43-8AB5-6FE2-635A-5F58B93C6E2A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19" creationId="{D1342AC6-4D4C-4458-9891-9AB7B9818B31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20" creationId="{0C424759-6A53-4EB2-8AFA-918C5FBE1D15}"/>
          </ac:spMkLst>
        </pc:spChg>
        <pc:spChg chg="del mod">
          <ac:chgData name="Aurelien Domont" userId="6da7715ce44349b3" providerId="LiveId" clId="{A31B6E7A-4C8B-4688-A47B-88935FEF0E5E}" dt="2022-08-18T06:20:20.389" v="4553" actId="478"/>
          <ac:spMkLst>
            <pc:docMk/>
            <pc:sldMk cId="2400249224" sldId="2165"/>
            <ac:spMk id="22" creationId="{2F78B30E-DA97-4E69-8F7E-6B67C7C7ACEC}"/>
          </ac:spMkLst>
        </pc:spChg>
        <pc:spChg chg="del mod">
          <ac:chgData name="Aurelien Domont" userId="6da7715ce44349b3" providerId="LiveId" clId="{A31B6E7A-4C8B-4688-A47B-88935FEF0E5E}" dt="2022-08-18T06:20:20.389" v="4553" actId="478"/>
          <ac:spMkLst>
            <pc:docMk/>
            <pc:sldMk cId="2400249224" sldId="2165"/>
            <ac:spMk id="23" creationId="{1EA029EC-6818-49F2-B572-01B2F5F20DEB}"/>
          </ac:spMkLst>
        </pc:spChg>
        <pc:spChg chg="del mod">
          <ac:chgData name="Aurelien Domont" userId="6da7715ce44349b3" providerId="LiveId" clId="{A31B6E7A-4C8B-4688-A47B-88935FEF0E5E}" dt="2022-08-18T06:20:20.389" v="4553" actId="478"/>
          <ac:spMkLst>
            <pc:docMk/>
            <pc:sldMk cId="2400249224" sldId="2165"/>
            <ac:spMk id="24" creationId="{C5DC413F-6B65-4481-B60E-C6DBB128152C}"/>
          </ac:spMkLst>
        </pc:spChg>
        <pc:spChg chg="add mod">
          <ac:chgData name="Aurelien Domont" userId="6da7715ce44349b3" providerId="LiveId" clId="{A31B6E7A-4C8B-4688-A47B-88935FEF0E5E}" dt="2022-08-18T06:23:10.986" v="4624" actId="20577"/>
          <ac:spMkLst>
            <pc:docMk/>
            <pc:sldMk cId="2400249224" sldId="2165"/>
            <ac:spMk id="25" creationId="{525C149E-37A3-3731-0657-3A10D0354C93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26" creationId="{65846DA0-6484-761B-D1FF-4E97D38F9D76}"/>
          </ac:spMkLst>
        </pc:spChg>
        <pc:spChg chg="add del mod">
          <ac:chgData name="Aurelien Domont" userId="6da7715ce44349b3" providerId="LiveId" clId="{A31B6E7A-4C8B-4688-A47B-88935FEF0E5E}" dt="2021-07-20T00:04:56.793" v="2121" actId="478"/>
          <ac:spMkLst>
            <pc:docMk/>
            <pc:sldMk cId="2400249224" sldId="2165"/>
            <ac:spMk id="27" creationId="{1516A1C0-2851-4E99-86DA-B21970301B7E}"/>
          </ac:spMkLst>
        </pc:spChg>
        <pc:spChg chg="add del mod">
          <ac:chgData name="Aurelien Domont" userId="6da7715ce44349b3" providerId="LiveId" clId="{A31B6E7A-4C8B-4688-A47B-88935FEF0E5E}" dt="2021-07-20T00:04:56.793" v="2121" actId="478"/>
          <ac:spMkLst>
            <pc:docMk/>
            <pc:sldMk cId="2400249224" sldId="2165"/>
            <ac:spMk id="28" creationId="{44C2250B-CD52-4B0D-8227-D17BCDE9E723}"/>
          </ac:spMkLst>
        </pc:spChg>
        <pc:spChg chg="add mod">
          <ac:chgData name="Aurelien Domont" userId="6da7715ce44349b3" providerId="LiveId" clId="{A31B6E7A-4C8B-4688-A47B-88935FEF0E5E}" dt="2022-08-18T06:23:06.877" v="4622" actId="20577"/>
          <ac:spMkLst>
            <pc:docMk/>
            <pc:sldMk cId="2400249224" sldId="2165"/>
            <ac:spMk id="28" creationId="{8FE8521E-118F-C14A-AD3B-97CEFB069646}"/>
          </ac:spMkLst>
        </pc:spChg>
        <pc:spChg chg="mod">
          <ac:chgData name="Aurelien Domont" userId="6da7715ce44349b3" providerId="LiveId" clId="{A31B6E7A-4C8B-4688-A47B-88935FEF0E5E}" dt="2021-07-20T00:30:02.134" v="2856" actId="20577"/>
          <ac:spMkLst>
            <pc:docMk/>
            <pc:sldMk cId="2400249224" sldId="2165"/>
            <ac:spMk id="29" creationId="{29DBF3F6-943A-4401-86EA-08968460D530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30" creationId="{C38C2946-25FF-4699-86AA-50F5DEBCFD04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31" creationId="{2D2BE8AD-87F0-1D98-3CEB-F1418D37FDA0}"/>
          </ac:spMkLst>
        </pc:spChg>
        <pc:spChg chg="add del mod">
          <ac:chgData name="Aurelien Domont" userId="6da7715ce44349b3" providerId="LiveId" clId="{A31B6E7A-4C8B-4688-A47B-88935FEF0E5E}" dt="2021-07-20T00:04:56.793" v="2121" actId="478"/>
          <ac:spMkLst>
            <pc:docMk/>
            <pc:sldMk cId="2400249224" sldId="2165"/>
            <ac:spMk id="31" creationId="{AF13FADF-C5D0-4958-91BD-ADDE87B48870}"/>
          </ac:spMkLst>
        </pc:spChg>
        <pc:spChg chg="add mod">
          <ac:chgData name="Aurelien Domont" userId="6da7715ce44349b3" providerId="LiveId" clId="{A31B6E7A-4C8B-4688-A47B-88935FEF0E5E}" dt="2022-08-18T06:25:10.305" v="4673" actId="1035"/>
          <ac:spMkLst>
            <pc:docMk/>
            <pc:sldMk cId="2400249224" sldId="2165"/>
            <ac:spMk id="33" creationId="{64E8C99C-8C5A-44ED-8ABE-CADA079538EE}"/>
          </ac:spMkLst>
        </pc:spChg>
        <pc:spChg chg="add mod">
          <ac:chgData name="Aurelien Domont" userId="6da7715ce44349b3" providerId="LiveId" clId="{A31B6E7A-4C8B-4688-A47B-88935FEF0E5E}" dt="2022-08-18T06:23:09.024" v="4623" actId="20577"/>
          <ac:spMkLst>
            <pc:docMk/>
            <pc:sldMk cId="2400249224" sldId="2165"/>
            <ac:spMk id="35" creationId="{5C90CC3D-ED7C-4972-6D45-310A3A02207E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36" creationId="{0FCD1424-3E58-EFEE-1ACE-0C50A5C3C261}"/>
          </ac:spMkLst>
        </pc:spChg>
        <pc:spChg chg="mod">
          <ac:chgData name="Aurelien Domont" userId="6da7715ce44349b3" providerId="LiveId" clId="{A31B6E7A-4C8B-4688-A47B-88935FEF0E5E}" dt="2021-07-20T00:09:57.951" v="2211" actId="1035"/>
          <ac:spMkLst>
            <pc:docMk/>
            <pc:sldMk cId="2400249224" sldId="2165"/>
            <ac:spMk id="37" creationId="{E090C855-9260-479C-B65C-3952652E8DF4}"/>
          </ac:spMkLst>
        </pc:spChg>
        <pc:spChg chg="add mod">
          <ac:chgData name="Aurelien Domont" userId="6da7715ce44349b3" providerId="LiveId" clId="{A31B6E7A-4C8B-4688-A47B-88935FEF0E5E}" dt="2022-08-18T06:23:13.060" v="4625" actId="20577"/>
          <ac:spMkLst>
            <pc:docMk/>
            <pc:sldMk cId="2400249224" sldId="2165"/>
            <ac:spMk id="39" creationId="{B903D2D4-5358-36DC-6B43-19CEACC359FD}"/>
          </ac:spMkLst>
        </pc:spChg>
        <pc:spChg chg="add mod">
          <ac:chgData name="Aurelien Domont" userId="6da7715ce44349b3" providerId="LiveId" clId="{A31B6E7A-4C8B-4688-A47B-88935FEF0E5E}" dt="2022-08-18T06:20:33.369" v="4580" actId="1038"/>
          <ac:spMkLst>
            <pc:docMk/>
            <pc:sldMk cId="2400249224" sldId="2165"/>
            <ac:spMk id="40" creationId="{5ABA2287-3C10-C19F-F67D-A6FC1D7FAAA2}"/>
          </ac:spMkLst>
        </pc:spChg>
        <pc:spChg chg="del mod">
          <ac:chgData name="Aurelien Domont" userId="6da7715ce44349b3" providerId="LiveId" clId="{A31B6E7A-4C8B-4688-A47B-88935FEF0E5E}" dt="2022-08-18T06:18:11.091" v="4508" actId="478"/>
          <ac:spMkLst>
            <pc:docMk/>
            <pc:sldMk cId="2400249224" sldId="2165"/>
            <ac:spMk id="51" creationId="{89C21646-4673-48FC-8467-4C1C08EEAC56}"/>
          </ac:spMkLst>
        </pc:spChg>
        <pc:spChg chg="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54" creationId="{207750B2-0729-4BB5-BFF3-873815BFFE7B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55" creationId="{D510DCA3-5B46-483C-A161-635432637180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56" creationId="{149F8417-C82B-4D73-84CD-1D791D410559}"/>
          </ac:spMkLst>
        </pc:spChg>
        <pc:spChg chg="mod">
          <ac:chgData name="Aurelien Domont" userId="6da7715ce44349b3" providerId="LiveId" clId="{A31B6E7A-4C8B-4688-A47B-88935FEF0E5E}" dt="2021-07-20T00:10:03.097" v="2212" actId="14100"/>
          <ac:spMkLst>
            <pc:docMk/>
            <pc:sldMk cId="2400249224" sldId="2165"/>
            <ac:spMk id="57" creationId="{6881C0D3-7F7F-4F87-A07A-1B0585F319D1}"/>
          </ac:spMkLst>
        </pc:spChg>
        <pc:picChg chg="del mod">
          <ac:chgData name="Aurelien Domont" userId="6da7715ce44349b3" providerId="LiveId" clId="{A31B6E7A-4C8B-4688-A47B-88935FEF0E5E}" dt="2022-08-18T06:18:32.012" v="4511" actId="478"/>
          <ac:picMkLst>
            <pc:docMk/>
            <pc:sldMk cId="2400249224" sldId="2165"/>
            <ac:picMk id="3" creationId="{71758693-EE1D-4F29-A184-12C0424C4705}"/>
          </ac:picMkLst>
        </pc:picChg>
        <pc:picChg chg="add mod">
          <ac:chgData name="Aurelien Domont" userId="6da7715ce44349b3" providerId="LiveId" clId="{A31B6E7A-4C8B-4688-A47B-88935FEF0E5E}" dt="2022-08-18T06:20:30.003" v="4565" actId="1037"/>
          <ac:picMkLst>
            <pc:docMk/>
            <pc:sldMk cId="2400249224" sldId="2165"/>
            <ac:picMk id="4" creationId="{693A3142-25AD-74E4-F972-2C819B0FB8CA}"/>
          </ac:picMkLst>
        </pc:picChg>
        <pc:picChg chg="add del mod">
          <ac:chgData name="Aurelien Domont" userId="6da7715ce44349b3" providerId="LiveId" clId="{A31B6E7A-4C8B-4688-A47B-88935FEF0E5E}" dt="2021-07-20T00:12:20.796" v="2309" actId="478"/>
          <ac:picMkLst>
            <pc:docMk/>
            <pc:sldMk cId="2400249224" sldId="2165"/>
            <ac:picMk id="6" creationId="{346A41C3-141D-432C-AF2D-D7280698A404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8" creationId="{52BA9546-08D0-515A-FF34-13DD2D6F0E45}"/>
          </ac:picMkLst>
        </pc:picChg>
        <pc:picChg chg="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14" creationId="{74CA0334-E7F2-4E00-8F48-A0C54D7E9AC0}"/>
          </ac:picMkLst>
        </pc:picChg>
        <pc:picChg chg="del mod">
          <ac:chgData name="Aurelien Domont" userId="6da7715ce44349b3" providerId="LiveId" clId="{A31B6E7A-4C8B-4688-A47B-88935FEF0E5E}" dt="2022-08-18T06:18:52.239" v="4516" actId="478"/>
          <ac:picMkLst>
            <pc:docMk/>
            <pc:sldMk cId="2400249224" sldId="2165"/>
            <ac:picMk id="15" creationId="{70E9EE01-614F-4CDA-95D1-0894D8A6384F}"/>
          </ac:picMkLst>
        </pc:picChg>
        <pc:picChg chg="del mod">
          <ac:chgData name="Aurelien Domont" userId="6da7715ce44349b3" providerId="LiveId" clId="{A31B6E7A-4C8B-4688-A47B-88935FEF0E5E}" dt="2022-08-18T06:18:52.239" v="4516" actId="478"/>
          <ac:picMkLst>
            <pc:docMk/>
            <pc:sldMk cId="2400249224" sldId="2165"/>
            <ac:picMk id="17" creationId="{2D239190-B59B-474E-8796-CC98D3CA8AC1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21" creationId="{9A368CC4-9FBD-0162-AF2C-015C7C9D9494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27" creationId="{B3713B4C-803C-80DA-9A7C-F0EED3A6C916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32" creationId="{43BBFCE3-794D-AF29-5748-38D15A9D8E1E}"/>
          </ac:picMkLst>
        </pc:picChg>
        <pc:picChg chg="add mod">
          <ac:chgData name="Aurelien Domont" userId="6da7715ce44349b3" providerId="LiveId" clId="{A31B6E7A-4C8B-4688-A47B-88935FEF0E5E}" dt="2022-08-18T06:25:10.305" v="4673" actId="1035"/>
          <ac:picMkLst>
            <pc:docMk/>
            <pc:sldMk cId="2400249224" sldId="2165"/>
            <ac:picMk id="34" creationId="{A0F1D6A6-F844-4086-BCB4-ABB814AE3B29}"/>
          </ac:picMkLst>
        </pc:picChg>
        <pc:picChg chg="add mod">
          <ac:chgData name="Aurelien Domont" userId="6da7715ce44349b3" providerId="LiveId" clId="{A31B6E7A-4C8B-4688-A47B-88935FEF0E5E}" dt="2022-08-18T06:20:33.369" v="4580" actId="1038"/>
          <ac:picMkLst>
            <pc:docMk/>
            <pc:sldMk cId="2400249224" sldId="2165"/>
            <ac:picMk id="38" creationId="{E652433E-6FE1-BFBF-CA2E-D4C59B390018}"/>
          </ac:picMkLst>
        </pc:picChg>
        <pc:picChg chg="mod">
          <ac:chgData name="Aurelien Domont" userId="6da7715ce44349b3" providerId="LiveId" clId="{A31B6E7A-4C8B-4688-A47B-88935FEF0E5E}" dt="2021-07-20T00:09:57.951" v="2211" actId="1035"/>
          <ac:picMkLst>
            <pc:docMk/>
            <pc:sldMk cId="2400249224" sldId="2165"/>
            <ac:picMk id="3074" creationId="{0AC0D32F-D87D-4B83-8BFC-E6D05DAEC117}"/>
          </ac:picMkLst>
        </pc:picChg>
        <pc:picChg chg="mod">
          <ac:chgData name="Aurelien Domont" userId="6da7715ce44349b3" providerId="LiveId" clId="{A31B6E7A-4C8B-4688-A47B-88935FEF0E5E}" dt="2021-07-20T00:09:57.951" v="2211" actId="1035"/>
          <ac:picMkLst>
            <pc:docMk/>
            <pc:sldMk cId="2400249224" sldId="2165"/>
            <ac:picMk id="3078" creationId="{C3956BAD-05A7-4E7C-B3FC-6E893538FA78}"/>
          </ac:picMkLst>
        </pc:picChg>
      </pc:sldChg>
      <pc:sldChg chg="addSp delSp modSp mod">
        <pc:chgData name="Aurelien Domont" userId="6da7715ce44349b3" providerId="LiveId" clId="{A31B6E7A-4C8B-4688-A47B-88935FEF0E5E}" dt="2022-08-18T23:58:10.841" v="4970"/>
        <pc:sldMkLst>
          <pc:docMk/>
          <pc:sldMk cId="2369505737" sldId="2167"/>
        </pc:sldMkLst>
        <pc:spChg chg="add mod">
          <ac:chgData name="Aurelien Domont" userId="6da7715ce44349b3" providerId="LiveId" clId="{A31B6E7A-4C8B-4688-A47B-88935FEF0E5E}" dt="2022-08-18T05:35:11.731" v="4438" actId="207"/>
          <ac:spMkLst>
            <pc:docMk/>
            <pc:sldMk cId="2369505737" sldId="2167"/>
            <ac:spMk id="2" creationId="{0EDD444B-B38F-B040-ACC4-7AB67940A92B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3" creationId="{0DCCF749-4A18-F53A-4A84-293C65B88608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4" creationId="{E9FC7D52-EB41-2BCF-0594-6BC1B81967C5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2369505737" sldId="2167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8-18T23:58:10.841" v="4970"/>
          <ac:spMkLst>
            <pc:docMk/>
            <pc:sldMk cId="2369505737" sldId="2167"/>
            <ac:spMk id="6" creationId="{FA2B429E-541B-FC28-797A-95EE43D2BDB6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7" creationId="{9B4A376D-A915-DAA8-7954-6CF5F42A2D95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8" creationId="{AC877F16-FA20-5F94-EAA8-4B77C95876B9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14" creationId="{C45434AC-7508-41CC-8A18-DEFEF6F6BBF9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14" creationId="{F25428CC-BFFA-12F8-C078-DD0F11E1C4FF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15" creationId="{3D6571D5-A81D-4415-8BC9-38148D060548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15" creationId="{58CFEF97-CF0F-4A53-B515-6825033BD446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17" creationId="{5611752A-CBCE-4358-A06D-CD5B7D3FCBA5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17" creationId="{E7D37D90-5E8A-490E-BE03-58411640A6D4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18" creationId="{941B4194-451D-4C8C-86F3-43266AF5F1C9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18" creationId="{F3D3F82C-AA23-4019-B98A-42FDD19F06AD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19" creationId="{878FE95C-2761-A2FA-3B72-F5A94600FAB8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19" creationId="{D465B12E-F0EA-49BF-9354-3133FF092796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0" creationId="{5895AA75-7685-4843-8276-848065F34DF3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20" creationId="{68BB1F62-0EC8-F926-1F7F-4F56C9168092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21" creationId="{2730B85B-D2BD-4EE5-9367-DB5E4C97B4D2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21" creationId="{45CED05E-9538-4A61-8AE5-0AB13C4EB9B7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22" creationId="{078CB749-4C41-45AA-9C89-9EA1E957A1C9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22" creationId="{4C81D99D-DC3D-42DB-9B56-C3EA06DC6B38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23" creationId="{5229179F-2095-460A-8E8D-7E49C37FD23B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23" creationId="{8E53CE99-66E6-4B19-90D2-F9280357A5E8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6" creationId="{71698101-F1A5-4BB1-9395-B95A24968A64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26" creationId="{7A9F0794-378C-DBED-576B-0683F4776A9A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7" creationId="{68E5079D-2EDA-4FEE-8555-410F2A0DC0CA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8" creationId="{0A1A6FF4-8298-4066-B2AD-0DE321C8D831}"/>
          </ac:spMkLst>
        </pc:sp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9" creationId="{0B598BE9-56A6-D682-0334-F88100417E43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10" creationId="{99402F0E-7F0B-9362-7043-9445765A5B9D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11" creationId="{5DD980C9-7693-CA00-A669-2F081A4EA7B5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12" creationId="{077858C4-6E88-103F-D483-5AC526FF0F2D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28" creationId="{9E386E55-8A92-9552-F973-414785C2EF32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29" creationId="{83E4B3DA-D21E-ED88-5709-0BD6E6C141CB}"/>
          </ac:picMkLst>
        </pc:picChg>
        <pc:cxnChg chg="del">
          <ac:chgData name="Aurelien Domont" userId="6da7715ce44349b3" providerId="LiveId" clId="{A31B6E7A-4C8B-4688-A47B-88935FEF0E5E}" dt="2021-07-16T06:04:42.198" v="503" actId="478"/>
          <ac:cxnSpMkLst>
            <pc:docMk/>
            <pc:sldMk cId="2369505737" sldId="2167"/>
            <ac:cxnSpMk id="24" creationId="{2B005BE4-D55B-4537-AAED-FE1BBF2126EE}"/>
          </ac:cxnSpMkLst>
        </pc:cxnChg>
        <pc:cxnChg chg="add del mod">
          <ac:chgData name="Aurelien Domont" userId="6da7715ce44349b3" providerId="LiveId" clId="{A31B6E7A-4C8B-4688-A47B-88935FEF0E5E}" dt="2022-08-18T05:35:05.842" v="4436" actId="478"/>
          <ac:cxnSpMkLst>
            <pc:docMk/>
            <pc:sldMk cId="2369505737" sldId="2167"/>
            <ac:cxnSpMk id="24" creationId="{5BA992EB-DE3C-4AA0-B399-69090910B538}"/>
          </ac:cxnSpMkLst>
        </pc:cxnChg>
        <pc:cxnChg chg="add del mod">
          <ac:chgData name="Aurelien Domont" userId="6da7715ce44349b3" providerId="LiveId" clId="{A31B6E7A-4C8B-4688-A47B-88935FEF0E5E}" dt="2022-08-18T05:35:05.842" v="4436" actId="478"/>
          <ac:cxnSpMkLst>
            <pc:docMk/>
            <pc:sldMk cId="2369505737" sldId="2167"/>
            <ac:cxnSpMk id="25" creationId="{73930E96-3BF2-4282-85F6-28C82EF90882}"/>
          </ac:cxnSpMkLst>
        </pc:cxnChg>
        <pc:cxnChg chg="del">
          <ac:chgData name="Aurelien Domont" userId="6da7715ce44349b3" providerId="LiveId" clId="{A31B6E7A-4C8B-4688-A47B-88935FEF0E5E}" dt="2021-07-16T06:04:42.198" v="503" actId="478"/>
          <ac:cxnSpMkLst>
            <pc:docMk/>
            <pc:sldMk cId="2369505737" sldId="2167"/>
            <ac:cxnSpMk id="25" creationId="{B39B4D90-31A2-44E7-B90E-A9086938B32F}"/>
          </ac:cxnSpMkLst>
        </pc:cxnChg>
        <pc:cxnChg chg="add mod">
          <ac:chgData name="Aurelien Domont" userId="6da7715ce44349b3" providerId="LiveId" clId="{A31B6E7A-4C8B-4688-A47B-88935FEF0E5E}" dt="2022-08-18T05:35:06.389" v="4437"/>
          <ac:cxnSpMkLst>
            <pc:docMk/>
            <pc:sldMk cId="2369505737" sldId="2167"/>
            <ac:cxnSpMk id="27" creationId="{44D0553A-7225-3728-7E6D-9E3B2C495A61}"/>
          </ac:cxnSpMkLst>
        </pc:cxnChg>
        <pc:cxnChg chg="add del mod">
          <ac:chgData name="Aurelien Domont" userId="6da7715ce44349b3" providerId="LiveId" clId="{A31B6E7A-4C8B-4688-A47B-88935FEF0E5E}" dt="2022-02-24T05:12:03.449" v="2977" actId="478"/>
          <ac:cxnSpMkLst>
            <pc:docMk/>
            <pc:sldMk cId="2369505737" sldId="2167"/>
            <ac:cxnSpMk id="29" creationId="{2CBF2287-43D4-461C-BD9A-D0815CFD4A5D}"/>
          </ac:cxnSpMkLst>
        </pc:cxnChg>
        <pc:cxnChg chg="add del mod">
          <ac:chgData name="Aurelien Domont" userId="6da7715ce44349b3" providerId="LiveId" clId="{A31B6E7A-4C8B-4688-A47B-88935FEF0E5E}" dt="2022-02-24T05:12:03.449" v="2977" actId="478"/>
          <ac:cxnSpMkLst>
            <pc:docMk/>
            <pc:sldMk cId="2369505737" sldId="2167"/>
            <ac:cxnSpMk id="30" creationId="{6F36B196-4918-4BC2-BCA6-45314D467F9F}"/>
          </ac:cxnSpMkLst>
        </pc:cxnChg>
        <pc:cxnChg chg="add mod">
          <ac:chgData name="Aurelien Domont" userId="6da7715ce44349b3" providerId="LiveId" clId="{A31B6E7A-4C8B-4688-A47B-88935FEF0E5E}" dt="2022-08-18T05:35:06.389" v="4437"/>
          <ac:cxnSpMkLst>
            <pc:docMk/>
            <pc:sldMk cId="2369505737" sldId="2167"/>
            <ac:cxnSpMk id="30" creationId="{71A3DA22-B6C1-6B2C-8484-283FBB5499AE}"/>
          </ac:cxnSpMkLst>
        </pc:cxnChg>
        <pc:cxnChg chg="add mod">
          <ac:chgData name="Aurelien Domont" userId="6da7715ce44349b3" providerId="LiveId" clId="{A31B6E7A-4C8B-4688-A47B-88935FEF0E5E}" dt="2022-08-18T05:35:06.389" v="4437"/>
          <ac:cxnSpMkLst>
            <pc:docMk/>
            <pc:sldMk cId="2369505737" sldId="2167"/>
            <ac:cxnSpMk id="31" creationId="{127263F2-85B6-7A59-AC08-E84D64A0B190}"/>
          </ac:cxnSpMkLst>
        </pc:cxnChg>
      </pc:sldChg>
      <pc:sldChg chg="addSp delSp modSp del mod ord">
        <pc:chgData name="Aurelien Domont" userId="6da7715ce44349b3" providerId="LiveId" clId="{A31B6E7A-4C8B-4688-A47B-88935FEF0E5E}" dt="2022-08-18T05:38:45.339" v="4449" actId="47"/>
        <pc:sldMkLst>
          <pc:docMk/>
          <pc:sldMk cId="4178836903" sldId="2169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178836903" sldId="2169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1-07-19T23:34:43.405" v="1672" actId="1035"/>
          <ac:spMkLst>
            <pc:docMk/>
            <pc:sldMk cId="4178836903" sldId="2169"/>
            <ac:spMk id="12" creationId="{E7675798-47BC-4250-BA24-0E2AC4A10A86}"/>
          </ac:spMkLst>
        </pc:spChg>
        <pc:spChg chg="mod">
          <ac:chgData name="Aurelien Domont" userId="6da7715ce44349b3" providerId="LiveId" clId="{A31B6E7A-4C8B-4688-A47B-88935FEF0E5E}" dt="2022-02-24T05:14:16.190" v="2982"/>
          <ac:spMkLst>
            <pc:docMk/>
            <pc:sldMk cId="4178836903" sldId="2169"/>
            <ac:spMk id="15" creationId="{9D051C05-62A5-4FB5-846C-31987D33AA9E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178836903" sldId="2169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3:34:43.405" v="1672" actId="1035"/>
          <ac:spMkLst>
            <pc:docMk/>
            <pc:sldMk cId="4178836903" sldId="2169"/>
            <ac:spMk id="17" creationId="{142BE8BF-9256-475D-900B-55FCC0CE6DB5}"/>
          </ac:spMkLst>
        </pc:spChg>
        <pc:spChg chg="mod">
          <ac:chgData name="Aurelien Domont" userId="6da7715ce44349b3" providerId="LiveId" clId="{A31B6E7A-4C8B-4688-A47B-88935FEF0E5E}" dt="2022-02-24T05:14:23.497" v="2983"/>
          <ac:spMkLst>
            <pc:docMk/>
            <pc:sldMk cId="4178836903" sldId="2169"/>
            <ac:spMk id="19" creationId="{B9017FA6-F0E0-4269-9C6B-53FA5BEF3E64}"/>
          </ac:spMkLst>
        </pc:spChg>
        <pc:picChg chg="add mod ord">
          <ac:chgData name="Aurelien Domont" userId="6da7715ce44349b3" providerId="LiveId" clId="{A31B6E7A-4C8B-4688-A47B-88935FEF0E5E}" dt="2021-07-19T23:34:43.405" v="1672" actId="1035"/>
          <ac:picMkLst>
            <pc:docMk/>
            <pc:sldMk cId="4178836903" sldId="2169"/>
            <ac:picMk id="3" creationId="{7E1B73C2-6F34-4ECE-8FE3-BD6AFB067BFE}"/>
          </ac:picMkLst>
        </pc:picChg>
        <pc:picChg chg="add mod ord">
          <ac:chgData name="Aurelien Domont" userId="6da7715ce44349b3" providerId="LiveId" clId="{A31B6E7A-4C8B-4688-A47B-88935FEF0E5E}" dt="2021-07-19T23:34:43.405" v="1672" actId="1035"/>
          <ac:picMkLst>
            <pc:docMk/>
            <pc:sldMk cId="4178836903" sldId="2169"/>
            <ac:picMk id="11" creationId="{95220DC0-3B3C-43DF-95DC-A2145D2BC06F}"/>
          </ac:picMkLst>
        </pc:picChg>
        <pc:picChg chg="del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18" creationId="{59AB60AD-34C2-48C3-B1C3-270DF47CA885}"/>
          </ac:picMkLst>
        </pc:picChg>
        <pc:picChg chg="del ord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20" creationId="{1B9CE67E-A6E1-4208-B6E4-E6F84641CB49}"/>
          </ac:picMkLst>
        </pc:picChg>
        <pc:picChg chg="del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21" creationId="{3194D5C0-2C7F-4EEF-86D7-9A7CA85D725F}"/>
          </ac:picMkLst>
        </pc:picChg>
        <pc:picChg chg="del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22" creationId="{3E2EBA1D-E7AB-4BF9-B88D-2803148DD833}"/>
          </ac:picMkLst>
        </pc:picChg>
        <pc:picChg chg="add mod ord">
          <ac:chgData name="Aurelien Domont" userId="6da7715ce44349b3" providerId="LiveId" clId="{A31B6E7A-4C8B-4688-A47B-88935FEF0E5E}" dt="2021-07-19T23:34:38.970" v="1669" actId="1036"/>
          <ac:picMkLst>
            <pc:docMk/>
            <pc:sldMk cId="4178836903" sldId="2169"/>
            <ac:picMk id="23" creationId="{4300007E-97CD-40C6-A419-43571A4C5B62}"/>
          </ac:picMkLst>
        </pc:picChg>
        <pc:picChg chg="add mod ord">
          <ac:chgData name="Aurelien Domont" userId="6da7715ce44349b3" providerId="LiveId" clId="{A31B6E7A-4C8B-4688-A47B-88935FEF0E5E}" dt="2021-07-19T23:34:38.970" v="1669" actId="1036"/>
          <ac:picMkLst>
            <pc:docMk/>
            <pc:sldMk cId="4178836903" sldId="2169"/>
            <ac:picMk id="25" creationId="{FFC757AF-447E-451D-B165-61D31CDE0315}"/>
          </ac:picMkLst>
        </pc:picChg>
      </pc:sldChg>
      <pc:sldChg chg="addSp delSp modSp add del mod">
        <pc:chgData name="Aurelien Domont" userId="6da7715ce44349b3" providerId="LiveId" clId="{A31B6E7A-4C8B-4688-A47B-88935FEF0E5E}" dt="2022-08-18T05:06:02.190" v="4434" actId="47"/>
        <pc:sldMkLst>
          <pc:docMk/>
          <pc:sldMk cId="3256774795" sldId="2177"/>
        </pc:sldMkLst>
        <pc:spChg chg="add mod">
          <ac:chgData name="Aurelien Domont" userId="6da7715ce44349b3" providerId="LiveId" clId="{A31B6E7A-4C8B-4688-A47B-88935FEF0E5E}" dt="2022-08-17T03:38:13.179" v="4307" actId="1076"/>
          <ac:spMkLst>
            <pc:docMk/>
            <pc:sldMk cId="3256774795" sldId="2177"/>
            <ac:spMk id="2" creationId="{637ACEDC-9EA4-6F21-EF32-5D1C2EB6579D}"/>
          </ac:spMkLst>
        </pc:spChg>
        <pc:spChg chg="add del mod">
          <ac:chgData name="Aurelien Domont" userId="6da7715ce44349b3" providerId="LiveId" clId="{A31B6E7A-4C8B-4688-A47B-88935FEF0E5E}" dt="2022-08-16T03:17:34.247" v="4168" actId="478"/>
          <ac:spMkLst>
            <pc:docMk/>
            <pc:sldMk cId="3256774795" sldId="2177"/>
            <ac:spMk id="7" creationId="{1048E8FF-05B8-A098-7C86-371A4FC9FBE1}"/>
          </ac:spMkLst>
        </pc:spChg>
        <pc:spChg chg="add del mod">
          <ac:chgData name="Aurelien Domont" userId="6da7715ce44349b3" providerId="LiveId" clId="{A31B6E7A-4C8B-4688-A47B-88935FEF0E5E}" dt="2022-08-12T03:34:21.428" v="3013" actId="478"/>
          <ac:spMkLst>
            <pc:docMk/>
            <pc:sldMk cId="3256774795" sldId="2177"/>
            <ac:spMk id="8" creationId="{9AF92216-F941-0F8B-5DC0-996B49D31496}"/>
          </ac:spMkLst>
        </pc:spChg>
        <pc:spChg chg="add mod">
          <ac:chgData name="Aurelien Domont" userId="6da7715ce44349b3" providerId="LiveId" clId="{A31B6E7A-4C8B-4688-A47B-88935FEF0E5E}" dt="2022-08-12T05:35:04.867" v="3208" actId="20577"/>
          <ac:spMkLst>
            <pc:docMk/>
            <pc:sldMk cId="3256774795" sldId="2177"/>
            <ac:spMk id="9" creationId="{924DE41C-0E96-914B-DD9E-D888CFAB3A0C}"/>
          </ac:spMkLst>
        </pc:spChg>
        <pc:spChg chg="add del mod">
          <ac:chgData name="Aurelien Domont" userId="6da7715ce44349b3" providerId="LiveId" clId="{A31B6E7A-4C8B-4688-A47B-88935FEF0E5E}" dt="2022-08-12T04:15:14.667" v="3016" actId="478"/>
          <ac:spMkLst>
            <pc:docMk/>
            <pc:sldMk cId="3256774795" sldId="2177"/>
            <ac:spMk id="19" creationId="{1C789B99-D1F5-C53F-F106-F60979637C4E}"/>
          </ac:spMkLst>
        </pc:spChg>
        <pc:spChg chg="mod">
          <ac:chgData name="Aurelien Domont" userId="6da7715ce44349b3" providerId="LiveId" clId="{A31B6E7A-4C8B-4688-A47B-88935FEF0E5E}" dt="2022-08-12T05:02:43.579" v="3031" actId="948"/>
          <ac:spMkLst>
            <pc:docMk/>
            <pc:sldMk cId="3256774795" sldId="2177"/>
            <ac:spMk id="21" creationId="{04475BBB-2493-447A-9108-B1FDDAAEE739}"/>
          </ac:spMkLst>
        </pc:spChg>
        <pc:spChg chg="del">
          <ac:chgData name="Aurelien Domont" userId="6da7715ce44349b3" providerId="LiveId" clId="{A31B6E7A-4C8B-4688-A47B-88935FEF0E5E}" dt="2022-08-12T03:25:47.569" v="3009" actId="478"/>
          <ac:spMkLst>
            <pc:docMk/>
            <pc:sldMk cId="3256774795" sldId="2177"/>
            <ac:spMk id="22" creationId="{BFED4C53-91DC-4B0E-A0FE-AEA7E1F6E302}"/>
          </ac:spMkLst>
        </pc:spChg>
        <pc:spChg chg="del">
          <ac:chgData name="Aurelien Domont" userId="6da7715ce44349b3" providerId="LiveId" clId="{A31B6E7A-4C8B-4688-A47B-88935FEF0E5E}" dt="2022-08-12T03:25:47.569" v="3009" actId="478"/>
          <ac:spMkLst>
            <pc:docMk/>
            <pc:sldMk cId="3256774795" sldId="2177"/>
            <ac:spMk id="23" creationId="{06434AF8-353F-4315-B496-98AFB94390E4}"/>
          </ac:spMkLst>
        </pc:spChg>
        <pc:spChg chg="add mod">
          <ac:chgData name="Aurelien Domont" userId="6da7715ce44349b3" providerId="LiveId" clId="{A31B6E7A-4C8B-4688-A47B-88935FEF0E5E}" dt="2022-08-12T05:02:48.484" v="3032" actId="948"/>
          <ac:spMkLst>
            <pc:docMk/>
            <pc:sldMk cId="3256774795" sldId="2177"/>
            <ac:spMk id="26" creationId="{1963B5D8-6D53-5636-94E7-49DE57DC1E07}"/>
          </ac:spMkLst>
        </pc:spChg>
        <pc:cxnChg chg="del">
          <ac:chgData name="Aurelien Domont" userId="6da7715ce44349b3" providerId="LiveId" clId="{A31B6E7A-4C8B-4688-A47B-88935FEF0E5E}" dt="2022-08-12T03:25:47.569" v="3009" actId="478"/>
          <ac:cxnSpMkLst>
            <pc:docMk/>
            <pc:sldMk cId="3256774795" sldId="2177"/>
            <ac:cxnSpMk id="2" creationId="{A7CB079B-01D0-6CE1-31C9-7F6661E35A39}"/>
          </ac:cxnSpMkLst>
        </pc:cxnChg>
        <pc:cxnChg chg="add mod">
          <ac:chgData name="Aurelien Domont" userId="6da7715ce44349b3" providerId="LiveId" clId="{A31B6E7A-4C8B-4688-A47B-88935FEF0E5E}" dt="2022-08-12T03:25:49.058" v="3010"/>
          <ac:cxnSpMkLst>
            <pc:docMk/>
            <pc:sldMk cId="3256774795" sldId="2177"/>
            <ac:cxnSpMk id="20" creationId="{F8BD6945-E3F1-B340-441B-693F15468713}"/>
          </ac:cxnSpMkLst>
        </pc:cxnChg>
        <pc:cxnChg chg="del">
          <ac:chgData name="Aurelien Domont" userId="6da7715ce44349b3" providerId="LiveId" clId="{A31B6E7A-4C8B-4688-A47B-88935FEF0E5E}" dt="2022-08-12T03:25:47.569" v="3009" actId="478"/>
          <ac:cxnSpMkLst>
            <pc:docMk/>
            <pc:sldMk cId="3256774795" sldId="2177"/>
            <ac:cxnSpMk id="24" creationId="{7DA920B0-69B0-48D7-8090-86754EC05ABA}"/>
          </ac:cxnSpMkLst>
        </pc:cxnChg>
        <pc:cxnChg chg="add mod">
          <ac:chgData name="Aurelien Domont" userId="6da7715ce44349b3" providerId="LiveId" clId="{A31B6E7A-4C8B-4688-A47B-88935FEF0E5E}" dt="2022-08-12T03:25:49.058" v="3010"/>
          <ac:cxnSpMkLst>
            <pc:docMk/>
            <pc:sldMk cId="3256774795" sldId="2177"/>
            <ac:cxnSpMk id="25" creationId="{A049DC07-C54F-7666-CD70-C9C4008399BE}"/>
          </ac:cxnSpMkLst>
        </pc:cxnChg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150556238" sldId="2178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1447101754" sldId="2185"/>
        </pc:sldMkLst>
      </pc:sldChg>
      <pc:sldChg chg="del">
        <pc:chgData name="Aurelien Domont" userId="6da7715ce44349b3" providerId="LiveId" clId="{A31B6E7A-4C8B-4688-A47B-88935FEF0E5E}" dt="2021-07-16T06:05:02.643" v="508" actId="47"/>
        <pc:sldMkLst>
          <pc:docMk/>
          <pc:sldMk cId="1390113814" sldId="2188"/>
        </pc:sldMkLst>
      </pc:sldChg>
      <pc:sldChg chg="del">
        <pc:chgData name="Aurelien Domont" userId="6da7715ce44349b3" providerId="LiveId" clId="{A31B6E7A-4C8B-4688-A47B-88935FEF0E5E}" dt="2021-07-16T06:05:19.643" v="514" actId="47"/>
        <pc:sldMkLst>
          <pc:docMk/>
          <pc:sldMk cId="1002747840" sldId="2189"/>
        </pc:sldMkLst>
      </pc:sldChg>
      <pc:sldChg chg="del">
        <pc:chgData name="Aurelien Domont" userId="6da7715ce44349b3" providerId="LiveId" clId="{A31B6E7A-4C8B-4688-A47B-88935FEF0E5E}" dt="2021-07-19T23:54:53.431" v="1924" actId="47"/>
        <pc:sldMkLst>
          <pc:docMk/>
          <pc:sldMk cId="2349979947" sldId="2190"/>
        </pc:sldMkLst>
      </pc:sldChg>
      <pc:sldChg chg="addSp delSp modSp mod">
        <pc:chgData name="Aurelien Domont" userId="6da7715ce44349b3" providerId="LiveId" clId="{A31B6E7A-4C8B-4688-A47B-88935FEF0E5E}" dt="2022-08-18T07:03:24.089" v="4939" actId="255"/>
        <pc:sldMkLst>
          <pc:docMk/>
          <pc:sldMk cId="3218024908" sldId="2193"/>
        </pc:sldMkLst>
        <pc:spChg chg="add mod">
          <ac:chgData name="Aurelien Domont" userId="6da7715ce44349b3" providerId="LiveId" clId="{A31B6E7A-4C8B-4688-A47B-88935FEF0E5E}" dt="2021-07-16T06:50:59.031" v="1136" actId="113"/>
          <ac:spMkLst>
            <pc:docMk/>
            <pc:sldMk cId="3218024908" sldId="2193"/>
            <ac:spMk id="2" creationId="{78134F35-DC1F-4EA2-B9D5-BFDC59C70BAA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218024908" sldId="2193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1-07-16T06:55:00.490" v="1221" actId="1076"/>
          <ac:spMkLst>
            <pc:docMk/>
            <pc:sldMk cId="3218024908" sldId="2193"/>
            <ac:spMk id="6" creationId="{FEDFCCE0-25AD-4C14-89CD-252C7C79861E}"/>
          </ac:spMkLst>
        </pc:spChg>
        <pc:spChg chg="mod">
          <ac:chgData name="Aurelien Domont" userId="6da7715ce44349b3" providerId="LiveId" clId="{A31B6E7A-4C8B-4688-A47B-88935FEF0E5E}" dt="2022-08-18T07:03:24.089" v="4939" actId="255"/>
          <ac:spMkLst>
            <pc:docMk/>
            <pc:sldMk cId="3218024908" sldId="2193"/>
            <ac:spMk id="16" creationId="{6C2BB713-9637-4B9B-938F-E9768876782A}"/>
          </ac:spMkLst>
        </pc:spChg>
        <pc:spChg chg="mod topLvl">
          <ac:chgData name="Aurelien Domont" userId="6da7715ce44349b3" providerId="LiveId" clId="{A31B6E7A-4C8B-4688-A47B-88935FEF0E5E}" dt="2021-07-16T06:51:35.002" v="1144" actId="165"/>
          <ac:spMkLst>
            <pc:docMk/>
            <pc:sldMk cId="3218024908" sldId="2193"/>
            <ac:spMk id="18" creationId="{BC66F36C-1148-4E3D-BC72-AF4A2165B45A}"/>
          </ac:spMkLst>
        </pc:spChg>
        <pc:spChg chg="mod topLvl">
          <ac:chgData name="Aurelien Domont" userId="6da7715ce44349b3" providerId="LiveId" clId="{A31B6E7A-4C8B-4688-A47B-88935FEF0E5E}" dt="2021-07-16T06:51:35.002" v="1144" actId="165"/>
          <ac:spMkLst>
            <pc:docMk/>
            <pc:sldMk cId="3218024908" sldId="2193"/>
            <ac:spMk id="19" creationId="{C8D6E8F1-7DC4-4846-8C70-618451CC08FD}"/>
          </ac:spMkLst>
        </pc:spChg>
        <pc:spChg chg="mod topLvl">
          <ac:chgData name="Aurelien Domont" userId="6da7715ce44349b3" providerId="LiveId" clId="{A31B6E7A-4C8B-4688-A47B-88935FEF0E5E}" dt="2021-07-16T06:52:16.767" v="1189" actId="1038"/>
          <ac:spMkLst>
            <pc:docMk/>
            <pc:sldMk cId="3218024908" sldId="2193"/>
            <ac:spMk id="20" creationId="{10D92213-0A7E-4E14-8CB2-EAF0B1B39081}"/>
          </ac:spMkLst>
        </pc:spChg>
        <pc:spChg chg="mod topLvl">
          <ac:chgData name="Aurelien Domont" userId="6da7715ce44349b3" providerId="LiveId" clId="{A31B6E7A-4C8B-4688-A47B-88935FEF0E5E}" dt="2021-07-16T06:53:47.287" v="1206" actId="20577"/>
          <ac:spMkLst>
            <pc:docMk/>
            <pc:sldMk cId="3218024908" sldId="2193"/>
            <ac:spMk id="21" creationId="{DE76A44A-DE3D-49B4-A017-4356C3A5C480}"/>
          </ac:spMkLst>
        </pc:spChg>
        <pc:spChg chg="mod topLvl">
          <ac:chgData name="Aurelien Domont" userId="6da7715ce44349b3" providerId="LiveId" clId="{A31B6E7A-4C8B-4688-A47B-88935FEF0E5E}" dt="2021-07-16T06:54:52.064" v="1219" actId="1036"/>
          <ac:spMkLst>
            <pc:docMk/>
            <pc:sldMk cId="3218024908" sldId="2193"/>
            <ac:spMk id="22" creationId="{E26FC9C8-7DE8-46B0-9D47-EF552FF02A56}"/>
          </ac:spMkLst>
        </pc:spChg>
        <pc:spChg chg="mod topLvl">
          <ac:chgData name="Aurelien Domont" userId="6da7715ce44349b3" providerId="LiveId" clId="{A31B6E7A-4C8B-4688-A47B-88935FEF0E5E}" dt="2021-07-16T06:53:52.125" v="1210" actId="20577"/>
          <ac:spMkLst>
            <pc:docMk/>
            <pc:sldMk cId="3218024908" sldId="2193"/>
            <ac:spMk id="23" creationId="{FA941810-F36F-4103-94A7-5CB0287ED632}"/>
          </ac:spMkLst>
        </pc:spChg>
        <pc:spChg chg="add mod">
          <ac:chgData name="Aurelien Domont" userId="6da7715ce44349b3" providerId="LiveId" clId="{A31B6E7A-4C8B-4688-A47B-88935FEF0E5E}" dt="2021-07-16T06:54:22.547" v="1211" actId="1076"/>
          <ac:spMkLst>
            <pc:docMk/>
            <pc:sldMk cId="3218024908" sldId="2193"/>
            <ac:spMk id="24" creationId="{4F965A29-B67B-4C80-BE12-BD5C97C10818}"/>
          </ac:spMkLst>
        </pc:spChg>
        <pc:spChg chg="add mod">
          <ac:chgData name="Aurelien Domont" userId="6da7715ce44349b3" providerId="LiveId" clId="{A31B6E7A-4C8B-4688-A47B-88935FEF0E5E}" dt="2021-07-16T06:56:41.747" v="1393" actId="1076"/>
          <ac:spMkLst>
            <pc:docMk/>
            <pc:sldMk cId="3218024908" sldId="2193"/>
            <ac:spMk id="29" creationId="{24DB11A0-6078-4CF5-B8B3-696531282961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1" creationId="{047F8D27-7EB8-4F11-818A-22805413905B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3" creationId="{AF984234-4413-463B-B984-33E801C8F1CC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4" creationId="{53AF2D87-E787-4026-9A04-CC08C3619B2A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5" creationId="{559EEED1-0DA6-4AC3-B749-C55D459F24E5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6" creationId="{C6DB5B95-30C9-42D9-BAC0-4DBAE6CDBB3E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7" creationId="{EC90D5F1-1294-46A2-9972-D03475C8DD90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8" creationId="{7D2BD487-1738-447A-9C8E-E7E226A621A5}"/>
          </ac:spMkLst>
        </pc:spChg>
        <pc:grpChg chg="add del mod">
          <ac:chgData name="Aurelien Domont" userId="6da7715ce44349b3" providerId="LiveId" clId="{A31B6E7A-4C8B-4688-A47B-88935FEF0E5E}" dt="2021-07-16T06:51:35.002" v="1144" actId="165"/>
          <ac:grpSpMkLst>
            <pc:docMk/>
            <pc:sldMk cId="3218024908" sldId="2193"/>
            <ac:grpSpMk id="12" creationId="{DA652C90-0CCC-4DFF-869A-B4ED5E8620FB}"/>
          </ac:grpSpMkLst>
        </pc:grpChg>
        <pc:picChg chg="add mod">
          <ac:chgData name="Aurelien Domont" userId="6da7715ce44349b3" providerId="LiveId" clId="{A31B6E7A-4C8B-4688-A47B-88935FEF0E5E}" dt="2022-08-18T06:06:52.480" v="4501" actId="207"/>
          <ac:picMkLst>
            <pc:docMk/>
            <pc:sldMk cId="3218024908" sldId="2193"/>
            <ac:picMk id="4" creationId="{65AAA698-9CA3-470A-A390-DD8CB53C4B0D}"/>
          </ac:picMkLst>
        </pc:picChg>
        <pc:picChg chg="del mod topLvl">
          <ac:chgData name="Aurelien Domont" userId="6da7715ce44349b3" providerId="LiveId" clId="{A31B6E7A-4C8B-4688-A47B-88935FEF0E5E}" dt="2021-07-16T06:51:39.747" v="1145" actId="478"/>
          <ac:picMkLst>
            <pc:docMk/>
            <pc:sldMk cId="3218024908" sldId="2193"/>
            <ac:picMk id="14" creationId="{A24C5920-DEBE-4024-9485-12F8942ED1A4}"/>
          </ac:picMkLst>
        </pc:picChg>
        <pc:picChg chg="del mod topLvl">
          <ac:chgData name="Aurelien Domont" userId="6da7715ce44349b3" providerId="LiveId" clId="{A31B6E7A-4C8B-4688-A47B-88935FEF0E5E}" dt="2021-07-16T06:51:40.653" v="1146" actId="478"/>
          <ac:picMkLst>
            <pc:docMk/>
            <pc:sldMk cId="3218024908" sldId="2193"/>
            <ac:picMk id="15" creationId="{55B76D82-32F4-4027-9DC4-ACE93B9FE4A0}"/>
          </ac:picMkLst>
        </pc:picChg>
        <pc:picChg chg="del mod topLvl">
          <ac:chgData name="Aurelien Domont" userId="6da7715ce44349b3" providerId="LiveId" clId="{A31B6E7A-4C8B-4688-A47B-88935FEF0E5E}" dt="2021-07-16T06:51:41.352" v="1147" actId="478"/>
          <ac:picMkLst>
            <pc:docMk/>
            <pc:sldMk cId="3218024908" sldId="2193"/>
            <ac:picMk id="17" creationId="{3E7F9E77-099F-400D-9758-DB134D1FD0E9}"/>
          </ac:picMkLst>
        </pc:picChg>
        <pc:picChg chg="add mod">
          <ac:chgData name="Aurelien Domont" userId="6da7715ce44349b3" providerId="LiveId" clId="{A31B6E7A-4C8B-4688-A47B-88935FEF0E5E}" dt="2022-08-18T06:06:52.480" v="4501" actId="207"/>
          <ac:picMkLst>
            <pc:docMk/>
            <pc:sldMk cId="3218024908" sldId="2193"/>
            <ac:picMk id="26" creationId="{1EEB2C52-6098-438D-8F9E-0399F310C93F}"/>
          </ac:picMkLst>
        </pc:picChg>
        <pc:picChg chg="add mod">
          <ac:chgData name="Aurelien Domont" userId="6da7715ce44349b3" providerId="LiveId" clId="{A31B6E7A-4C8B-4688-A47B-88935FEF0E5E}" dt="2022-08-18T06:06:52.480" v="4501" actId="207"/>
          <ac:picMkLst>
            <pc:docMk/>
            <pc:sldMk cId="3218024908" sldId="2193"/>
            <ac:picMk id="27" creationId="{664CD2A2-916C-42C6-9DAF-C5C7B8FD3442}"/>
          </ac:picMkLst>
        </pc:picChg>
      </pc:sldChg>
      <pc:sldChg chg="del">
        <pc:chgData name="Aurelien Domont" userId="6da7715ce44349b3" providerId="LiveId" clId="{A31B6E7A-4C8B-4688-A47B-88935FEF0E5E}" dt="2021-07-16T06:28:49.402" v="680" actId="47"/>
        <pc:sldMkLst>
          <pc:docMk/>
          <pc:sldMk cId="2295664870" sldId="2194"/>
        </pc:sldMkLst>
      </pc:sldChg>
      <pc:sldChg chg="addSp delSp modSp add del mod">
        <pc:chgData name="Aurelien Domont" userId="6da7715ce44349b3" providerId="LiveId" clId="{A31B6E7A-4C8B-4688-A47B-88935FEF0E5E}" dt="2022-08-18T05:35:33.448" v="4440"/>
        <pc:sldMkLst>
          <pc:docMk/>
          <pc:sldMk cId="3015462381" sldId="219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15462381" sldId="2195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2-24T05:06:39.926" v="2944"/>
          <ac:spMkLst>
            <pc:docMk/>
            <pc:sldMk cId="3015462381" sldId="2195"/>
            <ac:spMk id="7" creationId="{6FE5E11F-FF38-4379-8EC8-AFC4127DCE2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15462381" sldId="2195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6T06:29:16.486" v="693" actId="478"/>
          <ac:spMkLst>
            <pc:docMk/>
            <pc:sldMk cId="3015462381" sldId="2195"/>
            <ac:spMk id="22" creationId="{4539A6B0-D837-467A-AF7C-63F2CB65F06B}"/>
          </ac:spMkLst>
        </pc:spChg>
        <pc:graphicFrameChg chg="del">
          <ac:chgData name="Aurelien Domont" userId="6da7715ce44349b3" providerId="LiveId" clId="{A31B6E7A-4C8B-4688-A47B-88935FEF0E5E}" dt="2021-07-16T06:29:15.208" v="692" actId="478"/>
          <ac:graphicFrameMkLst>
            <pc:docMk/>
            <pc:sldMk cId="3015462381" sldId="2195"/>
            <ac:graphicFrameMk id="21" creationId="{2BF59061-6183-4369-B638-33688F9CF05D}"/>
          </ac:graphicFrameMkLst>
        </pc:graphicFrameChg>
      </pc:sldChg>
      <pc:sldChg chg="del">
        <pc:chgData name="Aurelien Domont" userId="6da7715ce44349b3" providerId="LiveId" clId="{A31B6E7A-4C8B-4688-A47B-88935FEF0E5E}" dt="2021-07-16T06:58:12.867" v="1394" actId="47"/>
        <pc:sldMkLst>
          <pc:docMk/>
          <pc:sldMk cId="1597273171" sldId="2196"/>
        </pc:sldMkLst>
      </pc:sldChg>
      <pc:sldChg chg="addSp delSp modSp mod">
        <pc:chgData name="Aurelien Domont" userId="6da7715ce44349b3" providerId="LiveId" clId="{A31B6E7A-4C8B-4688-A47B-88935FEF0E5E}" dt="2022-08-18T05:35:33.448" v="4440"/>
        <pc:sldMkLst>
          <pc:docMk/>
          <pc:sldMk cId="2560255870" sldId="2197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2560255870" sldId="2197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2560255870" sldId="2197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07:12:56.120" v="1530" actId="122"/>
          <ac:spMkLst>
            <pc:docMk/>
            <pc:sldMk cId="2560255870" sldId="2197"/>
            <ac:spMk id="31" creationId="{80DB5C2A-CB4E-438A-8801-EB0869040D7B}"/>
          </ac:spMkLst>
        </pc:spChg>
        <pc:spChg chg="mod">
          <ac:chgData name="Aurelien Domont" userId="6da7715ce44349b3" providerId="LiveId" clId="{A31B6E7A-4C8B-4688-A47B-88935FEF0E5E}" dt="2021-11-29T02:54:28.809" v="2937" actId="20577"/>
          <ac:spMkLst>
            <pc:docMk/>
            <pc:sldMk cId="2560255870" sldId="2197"/>
            <ac:spMk id="54" creationId="{E7D1A9F7-F376-48B5-ACD6-0ECF9A5D6033}"/>
          </ac:spMkLst>
        </pc:spChg>
        <pc:grpChg chg="del">
          <ac:chgData name="Aurelien Domont" userId="6da7715ce44349b3" providerId="LiveId" clId="{A31B6E7A-4C8B-4688-A47B-88935FEF0E5E}" dt="2022-02-24T05:06:56.163" v="2945"/>
          <ac:grpSpMkLst>
            <pc:docMk/>
            <pc:sldMk cId="2560255870" sldId="2197"/>
            <ac:grpSpMk id="2" creationId="{FFCD903C-2A8B-42A0-9428-7FD75FD8204A}"/>
          </ac:grpSpMkLst>
        </pc:grpChg>
        <pc:grpChg chg="add del">
          <ac:chgData name="Aurelien Domont" userId="6da7715ce44349b3" providerId="LiveId" clId="{A31B6E7A-4C8B-4688-A47B-88935FEF0E5E}" dt="2022-02-24T05:06:57.116" v="2946"/>
          <ac:grpSpMkLst>
            <pc:docMk/>
            <pc:sldMk cId="2560255870" sldId="2197"/>
            <ac:grpSpMk id="3" creationId="{FFCD903C-2A8B-42A0-9428-7FD75FD8204A}"/>
          </ac:grpSpMkLst>
        </pc:grpChg>
      </pc:sldChg>
      <pc:sldChg chg="addSp delSp modSp mod">
        <pc:chgData name="Aurelien Domont" userId="6da7715ce44349b3" providerId="LiveId" clId="{A31B6E7A-4C8B-4688-A47B-88935FEF0E5E}" dt="2022-08-19T00:26:19.048" v="5003" actId="20577"/>
        <pc:sldMkLst>
          <pc:docMk/>
          <pc:sldMk cId="344576478" sldId="2198"/>
        </pc:sldMkLst>
        <pc:spChg chg="add del mod">
          <ac:chgData name="Aurelien Domont" userId="6da7715ce44349b3" providerId="LiveId" clId="{A31B6E7A-4C8B-4688-A47B-88935FEF0E5E}" dt="2022-08-18T06:33:49.824" v="4778" actId="478"/>
          <ac:spMkLst>
            <pc:docMk/>
            <pc:sldMk cId="344576478" sldId="2198"/>
            <ac:spMk id="2" creationId="{5A5D561C-B151-6D8E-60EA-F5C1613F9A39}"/>
          </ac:spMkLst>
        </pc:spChg>
        <pc:spChg chg="add del mod">
          <ac:chgData name="Aurelien Domont" userId="6da7715ce44349b3" providerId="LiveId" clId="{A31B6E7A-4C8B-4688-A47B-88935FEF0E5E}" dt="2022-08-19T00:22:47.062" v="4997" actId="478"/>
          <ac:spMkLst>
            <pc:docMk/>
            <pc:sldMk cId="344576478" sldId="2198"/>
            <ac:spMk id="2" creationId="{D0A8ED26-221D-30FC-3B1F-B9575F946ABF}"/>
          </ac:spMkLst>
        </pc:spChg>
        <pc:spChg chg="add del mod">
          <ac:chgData name="Aurelien Domont" userId="6da7715ce44349b3" providerId="LiveId" clId="{A31B6E7A-4C8B-4688-A47B-88935FEF0E5E}" dt="2022-08-18T06:39:38.936" v="4794" actId="478"/>
          <ac:spMkLst>
            <pc:docMk/>
            <pc:sldMk cId="344576478" sldId="2198"/>
            <ac:spMk id="3" creationId="{0872DD0E-F7FB-06F9-7E40-0BF24339FCC5}"/>
          </ac:spMkLst>
        </pc:spChg>
        <pc:spChg chg="add del mod">
          <ac:chgData name="Aurelien Domont" userId="6da7715ce44349b3" providerId="LiveId" clId="{A31B6E7A-4C8B-4688-A47B-88935FEF0E5E}" dt="2022-08-18T06:43:41.099" v="4816" actId="478"/>
          <ac:spMkLst>
            <pc:docMk/>
            <pc:sldMk cId="344576478" sldId="2198"/>
            <ac:spMk id="4" creationId="{1FEC5D63-F0D7-051D-9E94-2E91D8E7883B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4576478" sldId="2198"/>
            <ac:spMk id="5" creationId="{3AA7B8AD-E6F9-4E25-A3A4-71D021032612}"/>
          </ac:spMkLst>
        </pc:spChg>
        <pc:spChg chg="del">
          <ac:chgData name="Aurelien Domont" userId="6da7715ce44349b3" providerId="LiveId" clId="{A31B6E7A-4C8B-4688-A47B-88935FEF0E5E}" dt="2021-07-19T07:22:58.619" v="1556" actId="478"/>
          <ac:spMkLst>
            <pc:docMk/>
            <pc:sldMk cId="344576478" sldId="2198"/>
            <ac:spMk id="6" creationId="{30028A21-6B64-4F0F-A2C9-A9779A18EEFC}"/>
          </ac:spMkLst>
        </pc:spChg>
        <pc:spChg chg="add del mod">
          <ac:chgData name="Aurelien Domont" userId="6da7715ce44349b3" providerId="LiveId" clId="{A31B6E7A-4C8B-4688-A47B-88935FEF0E5E}" dt="2022-08-18T06:45:05.030" v="4840" actId="478"/>
          <ac:spMkLst>
            <pc:docMk/>
            <pc:sldMk cId="344576478" sldId="2198"/>
            <ac:spMk id="6" creationId="{71CC19DE-F3AF-00AE-073B-E21B0581AE0F}"/>
          </ac:spMkLst>
        </pc:spChg>
        <pc:spChg chg="add mod">
          <ac:chgData name="Aurelien Domont" userId="6da7715ce44349b3" providerId="LiveId" clId="{A31B6E7A-4C8B-4688-A47B-88935FEF0E5E}" dt="2022-08-19T00:26:19.048" v="5003" actId="20577"/>
          <ac:spMkLst>
            <pc:docMk/>
            <pc:sldMk cId="344576478" sldId="2198"/>
            <ac:spMk id="7" creationId="{F79D136A-64A2-4C49-9EE6-43915E022B73}"/>
          </ac:spMkLst>
        </pc:spChg>
        <pc:spChg chg="mod">
          <ac:chgData name="Aurelien Domont" userId="6da7715ce44349b3" providerId="LiveId" clId="{A31B6E7A-4C8B-4688-A47B-88935FEF0E5E}" dt="2022-08-18T06:28:23.708" v="4699" actId="1076"/>
          <ac:spMkLst>
            <pc:docMk/>
            <pc:sldMk cId="344576478" sldId="2198"/>
            <ac:spMk id="16" creationId="{6C2BB713-9637-4B9B-938F-E9768876782A}"/>
          </ac:spMkLst>
        </pc:spChg>
      </pc:sldChg>
      <pc:sldChg chg="del">
        <pc:chgData name="Aurelien Domont" userId="6da7715ce44349b3" providerId="LiveId" clId="{A31B6E7A-4C8B-4688-A47B-88935FEF0E5E}" dt="2021-07-20T00:03:08.675" v="2070" actId="47"/>
        <pc:sldMkLst>
          <pc:docMk/>
          <pc:sldMk cId="3652554031" sldId="2199"/>
        </pc:sldMkLst>
      </pc:sldChg>
      <pc:sldChg chg="del">
        <pc:chgData name="Aurelien Domont" userId="6da7715ce44349b3" providerId="LiveId" clId="{A31B6E7A-4C8B-4688-A47B-88935FEF0E5E}" dt="2022-02-24T05:20:39.729" v="3002" actId="47"/>
        <pc:sldMkLst>
          <pc:docMk/>
          <pc:sldMk cId="2272097788" sldId="2200"/>
        </pc:sldMkLst>
      </pc:sldChg>
      <pc:sldChg chg="add del">
        <pc:chgData name="Aurelien Domont" userId="6da7715ce44349b3" providerId="LiveId" clId="{A31B6E7A-4C8B-4688-A47B-88935FEF0E5E}" dt="2021-07-16T06:04:00.872" v="500" actId="47"/>
        <pc:sldMkLst>
          <pc:docMk/>
          <pc:sldMk cId="714135672" sldId="2201"/>
        </pc:sldMkLst>
      </pc:sldChg>
      <pc:sldChg chg="addSp delSp modSp add del mod ord">
        <pc:chgData name="Aurelien Domont" userId="6da7715ce44349b3" providerId="LiveId" clId="{A31B6E7A-4C8B-4688-A47B-88935FEF0E5E}" dt="2022-08-18T05:38:45.339" v="4449" actId="47"/>
        <pc:sldMkLst>
          <pc:docMk/>
          <pc:sldMk cId="843123998" sldId="2201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843123998" sldId="2201"/>
            <ac:spMk id="5" creationId="{3AA7B8AD-E6F9-4E25-A3A4-71D021032612}"/>
          </ac:spMkLst>
        </pc:spChg>
        <pc:spChg chg="del mod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14" creationId="{C45434AC-7508-41CC-8A18-DEFEF6F6BBF9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15" creationId="{A8AD766F-664D-4884-9178-3B8C1C431654}"/>
          </ac:spMkLst>
        </pc:spChg>
        <pc:spChg chg="mod">
          <ac:chgData name="Aurelien Domont" userId="6da7715ce44349b3" providerId="LiveId" clId="{A31B6E7A-4C8B-4688-A47B-88935FEF0E5E}" dt="2021-07-16T06:05:07.232" v="510" actId="20577"/>
          <ac:spMkLst>
            <pc:docMk/>
            <pc:sldMk cId="843123998" sldId="2201"/>
            <ac:spMk id="16" creationId="{6C2BB713-9637-4B9B-938F-E9768876782A}"/>
          </ac:spMkLst>
        </pc:spChg>
        <pc:spChg chg="add mod">
          <ac:chgData name="Aurelien Domont" userId="6da7715ce44349b3" providerId="LiveId" clId="{A31B6E7A-4C8B-4688-A47B-88935FEF0E5E}" dt="2022-02-24T05:14:48.344" v="2986" actId="207"/>
          <ac:spMkLst>
            <pc:docMk/>
            <pc:sldMk cId="843123998" sldId="2201"/>
            <ac:spMk id="17" creationId="{31AF43DD-5DBF-4D9B-811F-CF6B652127B7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18" creationId="{B19C7371-C692-48F3-9FEC-97B67B9489BC}"/>
          </ac:spMkLst>
        </pc:spChg>
        <pc:spChg chg="del mod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19" creationId="{D465B12E-F0EA-49BF-9354-3133FF092796}"/>
          </ac:spMkLst>
        </pc:spChg>
        <pc:spChg chg="del mod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0" creationId="{5895AA75-7685-4843-8276-848065F34DF3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21" creationId="{572D9AF6-CA82-439E-9816-A0D81F39D4CC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22" creationId="{EE6653DE-C145-4B30-AD4C-449D4EB68738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23" creationId="{A1C20E41-ACBF-4A00-9D29-5A9E19D1FC40}"/>
          </ac:spMkLst>
        </pc:spChg>
        <pc:spChg chg="del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6" creationId="{71698101-F1A5-4BB1-9395-B95A24968A64}"/>
          </ac:spMkLst>
        </pc:spChg>
        <pc:spChg chg="del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7" creationId="{68E5079D-2EDA-4FEE-8555-410F2A0DC0CA}"/>
          </ac:spMkLst>
        </pc:spChg>
        <pc:spChg chg="del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8" creationId="{0A1A6FF4-8298-4066-B2AD-0DE321C8D831}"/>
          </ac:spMkLst>
        </pc:spChg>
        <pc:cxnChg chg="add mod">
          <ac:chgData name="Aurelien Domont" userId="6da7715ce44349b3" providerId="LiveId" clId="{A31B6E7A-4C8B-4688-A47B-88935FEF0E5E}" dt="2022-02-24T05:14:41.350" v="2985"/>
          <ac:cxnSpMkLst>
            <pc:docMk/>
            <pc:sldMk cId="843123998" sldId="2201"/>
            <ac:cxnSpMk id="24" creationId="{43683D13-B74F-44D1-B4BD-CCC348141C23}"/>
          </ac:cxnSpMkLst>
        </pc:cxnChg>
        <pc:cxnChg chg="add mod">
          <ac:chgData name="Aurelien Domont" userId="6da7715ce44349b3" providerId="LiveId" clId="{A31B6E7A-4C8B-4688-A47B-88935FEF0E5E}" dt="2022-02-24T05:14:41.350" v="2985"/>
          <ac:cxnSpMkLst>
            <pc:docMk/>
            <pc:sldMk cId="843123998" sldId="2201"/>
            <ac:cxnSpMk id="25" creationId="{1866B538-EE8D-4B62-87AF-621312717C9F}"/>
          </ac:cxnSpMkLst>
        </pc:cxnChg>
        <pc:cxnChg chg="del">
          <ac:chgData name="Aurelien Domont" userId="6da7715ce44349b3" providerId="LiveId" clId="{A31B6E7A-4C8B-4688-A47B-88935FEF0E5E}" dt="2022-02-24T05:14:34.071" v="2984" actId="478"/>
          <ac:cxnSpMkLst>
            <pc:docMk/>
            <pc:sldMk cId="843123998" sldId="2201"/>
            <ac:cxnSpMk id="29" creationId="{2CBF2287-43D4-461C-BD9A-D0815CFD4A5D}"/>
          </ac:cxnSpMkLst>
        </pc:cxnChg>
        <pc:cxnChg chg="del">
          <ac:chgData name="Aurelien Domont" userId="6da7715ce44349b3" providerId="LiveId" clId="{A31B6E7A-4C8B-4688-A47B-88935FEF0E5E}" dt="2022-02-24T05:14:34.071" v="2984" actId="478"/>
          <ac:cxnSpMkLst>
            <pc:docMk/>
            <pc:sldMk cId="843123998" sldId="2201"/>
            <ac:cxnSpMk id="30" creationId="{6F36B196-4918-4BC2-BCA6-45314D467F9F}"/>
          </ac:cxnSpMkLst>
        </pc:cxnChg>
      </pc:sldChg>
      <pc:sldChg chg="add del">
        <pc:chgData name="Aurelien Domont" userId="6da7715ce44349b3" providerId="LiveId" clId="{A31B6E7A-4C8B-4688-A47B-88935FEF0E5E}" dt="2021-07-16T06:04:50.464" v="506" actId="47"/>
        <pc:sldMkLst>
          <pc:docMk/>
          <pc:sldMk cId="4011034546" sldId="2201"/>
        </pc:sldMkLst>
      </pc:sldChg>
      <pc:sldChg chg="addSp delSp modSp add del mod ord">
        <pc:chgData name="Aurelien Domont" userId="6da7715ce44349b3" providerId="LiveId" clId="{A31B6E7A-4C8B-4688-A47B-88935FEF0E5E}" dt="2022-08-18T05:42:09.071" v="4467" actId="47"/>
        <pc:sldMkLst>
          <pc:docMk/>
          <pc:sldMk cId="1690448907" sldId="2202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690448907" sldId="2202"/>
            <ac:spMk id="5" creationId="{3AA7B8AD-E6F9-4E25-A3A4-71D021032612}"/>
          </ac:spMkLst>
        </pc:spChg>
        <pc:spChg chg="del mod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14" creationId="{C45434AC-7508-41CC-8A18-DEFEF6F6BBF9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15" creationId="{147288E9-FF90-4BD9-81F6-E677E3096A03}"/>
          </ac:spMkLst>
        </pc:spChg>
        <pc:spChg chg="mod">
          <ac:chgData name="Aurelien Domont" userId="6da7715ce44349b3" providerId="LiveId" clId="{A31B6E7A-4C8B-4688-A47B-88935FEF0E5E}" dt="2021-07-16T06:05:28.066" v="518" actId="20577"/>
          <ac:spMkLst>
            <pc:docMk/>
            <pc:sldMk cId="1690448907" sldId="2202"/>
            <ac:spMk id="16" creationId="{6C2BB713-9637-4B9B-938F-E9768876782A}"/>
          </ac:spMkLst>
        </pc:spChg>
        <pc:spChg chg="add mod">
          <ac:chgData name="Aurelien Domont" userId="6da7715ce44349b3" providerId="LiveId" clId="{A31B6E7A-4C8B-4688-A47B-88935FEF0E5E}" dt="2022-02-24T05:17:26.293" v="2993" actId="108"/>
          <ac:spMkLst>
            <pc:docMk/>
            <pc:sldMk cId="1690448907" sldId="2202"/>
            <ac:spMk id="17" creationId="{5A9611F4-B33B-4F71-ADC9-E7AC0B45A7E8}"/>
          </ac:spMkLst>
        </pc:spChg>
        <pc:spChg chg="add mod">
          <ac:chgData name="Aurelien Domont" userId="6da7715ce44349b3" providerId="LiveId" clId="{A31B6E7A-4C8B-4688-A47B-88935FEF0E5E}" dt="2022-02-24T05:17:22.845" v="2992" actId="207"/>
          <ac:spMkLst>
            <pc:docMk/>
            <pc:sldMk cId="1690448907" sldId="2202"/>
            <ac:spMk id="18" creationId="{E3A30E70-03EC-4DE5-9F58-D8AD1AF426B0}"/>
          </ac:spMkLst>
        </pc:spChg>
        <pc:spChg chg="del mod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19" creationId="{D465B12E-F0EA-49BF-9354-3133FF092796}"/>
          </ac:spMkLst>
        </pc:spChg>
        <pc:spChg chg="del mod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0" creationId="{5895AA75-7685-4843-8276-848065F34DF3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21" creationId="{A0BAA3CE-35E4-4FFC-8E5C-C6C3E47EDC22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22" creationId="{23AC8016-2576-42C8-B81D-E0025ED099D6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23" creationId="{B0017B2C-9AEF-4D59-9516-E252FB455B78}"/>
          </ac:spMkLst>
        </pc:spChg>
        <pc:spChg chg="del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6" creationId="{71698101-F1A5-4BB1-9395-B95A24968A64}"/>
          </ac:spMkLst>
        </pc:spChg>
        <pc:spChg chg="del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7" creationId="{68E5079D-2EDA-4FEE-8555-410F2A0DC0CA}"/>
          </ac:spMkLst>
        </pc:spChg>
        <pc:spChg chg="del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8" creationId="{0A1A6FF4-8298-4066-B2AD-0DE321C8D831}"/>
          </ac:spMkLst>
        </pc:spChg>
        <pc:cxnChg chg="add mod">
          <ac:chgData name="Aurelien Domont" userId="6da7715ce44349b3" providerId="LiveId" clId="{A31B6E7A-4C8B-4688-A47B-88935FEF0E5E}" dt="2022-02-24T05:17:17.676" v="2991"/>
          <ac:cxnSpMkLst>
            <pc:docMk/>
            <pc:sldMk cId="1690448907" sldId="2202"/>
            <ac:cxnSpMk id="24" creationId="{CBAC1A3D-BB1A-4290-A396-40C78FF8C092}"/>
          </ac:cxnSpMkLst>
        </pc:cxnChg>
        <pc:cxnChg chg="add mod">
          <ac:chgData name="Aurelien Domont" userId="6da7715ce44349b3" providerId="LiveId" clId="{A31B6E7A-4C8B-4688-A47B-88935FEF0E5E}" dt="2022-02-24T05:17:17.676" v="2991"/>
          <ac:cxnSpMkLst>
            <pc:docMk/>
            <pc:sldMk cId="1690448907" sldId="2202"/>
            <ac:cxnSpMk id="25" creationId="{3DC9ACD8-EBA4-4A18-BA96-9A5771A781BC}"/>
          </ac:cxnSpMkLst>
        </pc:cxnChg>
        <pc:cxnChg chg="del">
          <ac:chgData name="Aurelien Domont" userId="6da7715ce44349b3" providerId="LiveId" clId="{A31B6E7A-4C8B-4688-A47B-88935FEF0E5E}" dt="2022-02-24T05:17:09.084" v="2990" actId="478"/>
          <ac:cxnSpMkLst>
            <pc:docMk/>
            <pc:sldMk cId="1690448907" sldId="2202"/>
            <ac:cxnSpMk id="29" creationId="{2CBF2287-43D4-461C-BD9A-D0815CFD4A5D}"/>
          </ac:cxnSpMkLst>
        </pc:cxnChg>
        <pc:cxnChg chg="del">
          <ac:chgData name="Aurelien Domont" userId="6da7715ce44349b3" providerId="LiveId" clId="{A31B6E7A-4C8B-4688-A47B-88935FEF0E5E}" dt="2022-02-24T05:17:09.084" v="2990" actId="478"/>
          <ac:cxnSpMkLst>
            <pc:docMk/>
            <pc:sldMk cId="1690448907" sldId="2202"/>
            <ac:cxnSpMk id="30" creationId="{6F36B196-4918-4BC2-BCA6-45314D467F9F}"/>
          </ac:cxnSpMkLst>
        </pc:cxnChg>
      </pc:sldChg>
      <pc:sldChg chg="addSp delSp modSp add mod">
        <pc:chgData name="Aurelien Domont" userId="6da7715ce44349b3" providerId="LiveId" clId="{A31B6E7A-4C8B-4688-A47B-88935FEF0E5E}" dt="2022-08-18T07:02:59.888" v="4936" actId="20577"/>
        <pc:sldMkLst>
          <pc:docMk/>
          <pc:sldMk cId="3766489486" sldId="2203"/>
        </pc:sldMkLst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" creationId="{6D1C33CC-3D6C-3C5A-9AE3-2BCFD4945208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" creationId="{78134F35-DC1F-4EA2-B9D5-BFDC59C70BAA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3" creationId="{5948B97B-6472-FB72-3A00-D9C421FD7222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4" creationId="{70D3700C-BEE2-EF56-34F1-2556FFAFE89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66489486" sldId="2203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6" creationId="{E444C153-3BA9-CE04-1338-8458163839D6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6" creationId="{FEDFCCE0-25AD-4C14-89CD-252C7C79861E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7" creationId="{97DE7633-580F-B145-A56B-CC67FBC1F135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8" creationId="{933027B8-1839-A91F-FCAA-2521D7A50124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9" creationId="{099D849A-22F2-EE50-4355-854A57441F56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0" creationId="{90AD4103-AADB-9333-E624-C43B0F47E295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1" creationId="{189B4B94-2F92-E0B5-45D3-3D71B919E3CE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2" creationId="{C694EEEA-BD43-28B2-67EB-3C061CCC4C5E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4" creationId="{2D3BEE7F-FFDB-8F54-455B-EE14C2716F7A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5" creationId="{6CA65DE6-6D81-45EC-3C9F-7DDDF4534957}"/>
          </ac:spMkLst>
        </pc:spChg>
        <pc:spChg chg="mod">
          <ac:chgData name="Aurelien Domont" userId="6da7715ce44349b3" providerId="LiveId" clId="{A31B6E7A-4C8B-4688-A47B-88935FEF0E5E}" dt="2022-08-18T07:02:59.888" v="4936" actId="20577"/>
          <ac:spMkLst>
            <pc:docMk/>
            <pc:sldMk cId="3766489486" sldId="2203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18" creationId="{BC66F36C-1148-4E3D-BC72-AF4A2165B45A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19" creationId="{C8D6E8F1-7DC4-4846-8C70-618451CC08FD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0" creationId="{10D92213-0A7E-4E14-8CB2-EAF0B1B39081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1" creationId="{DE76A44A-DE3D-49B4-A017-4356C3A5C480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2" creationId="{E26FC9C8-7DE8-46B0-9D47-EF552FF02A56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3" creationId="{03DC26D8-7533-98BF-4348-81C3D5203EE3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3" creationId="{FA941810-F36F-4103-94A7-5CB0287ED632}"/>
          </ac:spMkLst>
        </pc:spChg>
        <pc:spChg chg="del">
          <ac:chgData name="Aurelien Domont" userId="6da7715ce44349b3" providerId="LiveId" clId="{A31B6E7A-4C8B-4688-A47B-88935FEF0E5E}" dt="2021-07-19T07:13:32.654" v="1533" actId="478"/>
          <ac:spMkLst>
            <pc:docMk/>
            <pc:sldMk cId="3766489486" sldId="2203"/>
            <ac:spMk id="24" creationId="{4F965A29-B67B-4C80-BE12-BD5C97C10818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4" creationId="{B1344B7E-05DF-0A99-533B-A93992F17A28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25" creationId="{F347B7F1-0F86-4018-93E6-7399C9966E34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6" creationId="{4ED3E223-6489-87CC-5F76-EEAEE10DCDA3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28" creationId="{D6D08506-6310-4F7A-A230-D65216CCBC8C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9" creationId="{24DB11A0-6078-4CF5-B8B3-696531282961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0" creationId="{0E66913D-FEDE-4A74-B9D4-5ED5A4221815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1" creationId="{072D89CE-D381-4722-8AF1-6AC7A70AC68E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2" creationId="{AFAF143E-8AB7-43BC-AE37-C068241DFE07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3" creationId="{D36C6FD4-E7DA-4D8D-A7D7-07EF968D4D60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4" creationId="{2FC738D2-3FA6-41AA-A042-DE42B38D472A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5" creationId="{21A754F8-0A3D-4459-B6F1-BE7D2E171AD0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6" creationId="{AAC774C2-9829-4B1C-AE91-BB914E51C735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7" creationId="{4CE246F1-3304-49DD-9258-320D89D25884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8" creationId="{F31A1628-A4CA-45DC-968A-681F6A9462B3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9" creationId="{62292D9D-CA17-44D2-9744-4441DC3D7F2C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0" creationId="{78A95F19-46CF-4061-89D2-ECA8FEE92A78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1" creationId="{62FD627A-5EFC-40C9-A0DD-2B7AA3FF7190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2" creationId="{1DFC330B-6698-4D52-BECB-6FECF3F00A43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3" creationId="{D11B8F3D-49A7-4B81-955E-57423D2FE4A8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4" creationId="{DBB96466-BF38-4C8F-A5DF-AD87CD92C967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5" creationId="{9C76A654-8663-4201-87DC-68E03A5480F9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6" creationId="{8BBE47A6-A023-4063-94A3-009F2778C8CD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53" creationId="{7D9A0981-49F0-F311-6E96-DCB326D78A39}"/>
          </ac:spMkLst>
        </pc:spChg>
        <pc:grpChg chg="add mod">
          <ac:chgData name="Aurelien Domont" userId="6da7715ce44349b3" providerId="LiveId" clId="{A31B6E7A-4C8B-4688-A47B-88935FEF0E5E}" dt="2022-08-18T06:56:20.549" v="4923"/>
          <ac:grpSpMkLst>
            <pc:docMk/>
            <pc:sldMk cId="3766489486" sldId="2203"/>
            <ac:grpSpMk id="22" creationId="{461461EE-C977-E8AF-E6C9-558E0C55B9EF}"/>
          </ac:grpSpMkLst>
        </pc:grpChg>
        <pc:grpChg chg="add mod">
          <ac:chgData name="Aurelien Domont" userId="6da7715ce44349b3" providerId="LiveId" clId="{A31B6E7A-4C8B-4688-A47B-88935FEF0E5E}" dt="2022-08-18T06:56:20.549" v="4923"/>
          <ac:grpSpMkLst>
            <pc:docMk/>
            <pc:sldMk cId="3766489486" sldId="2203"/>
            <ac:grpSpMk id="51" creationId="{EA7B2A85-F336-9350-1E2B-D4AD60FE9044}"/>
          </ac:grpSpMkLst>
        </pc:grpChg>
        <pc:grpChg chg="add mod">
          <ac:chgData name="Aurelien Domont" userId="6da7715ce44349b3" providerId="LiveId" clId="{A31B6E7A-4C8B-4688-A47B-88935FEF0E5E}" dt="2022-08-18T06:56:20.549" v="4923"/>
          <ac:grpSpMkLst>
            <pc:docMk/>
            <pc:sldMk cId="3766489486" sldId="2203"/>
            <ac:grpSpMk id="54" creationId="{9F8A8057-456B-BECF-8269-DD409017735D}"/>
          </ac:grpSpMkLst>
        </pc:grpChg>
        <pc:picChg chg="del">
          <ac:chgData name="Aurelien Domont" userId="6da7715ce44349b3" providerId="LiveId" clId="{A31B6E7A-4C8B-4688-A47B-88935FEF0E5E}" dt="2021-07-19T07:13:29.977" v="1532" actId="478"/>
          <ac:picMkLst>
            <pc:docMk/>
            <pc:sldMk cId="3766489486" sldId="2203"/>
            <ac:picMk id="4" creationId="{65AAA698-9CA3-470A-A390-DD8CB53C4B0D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17" creationId="{A3ECC72D-830B-8448-ED97-13070C99A7AB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18" creationId="{4BFCC3E1-0801-4EDC-5938-7CE55981B9B2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19" creationId="{7C675A2B-0AE9-6270-3B01-110B3E77A663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20" creationId="{D721D74A-15F2-E046-807D-C3731E71088B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21" creationId="{AC115E1C-CEA1-5C87-00E1-4B3D2D5D3677}"/>
          </ac:picMkLst>
        </pc:picChg>
        <pc:picChg chg="del">
          <ac:chgData name="Aurelien Domont" userId="6da7715ce44349b3" providerId="LiveId" clId="{A31B6E7A-4C8B-4688-A47B-88935FEF0E5E}" dt="2021-07-19T07:13:29.977" v="1532" actId="478"/>
          <ac:picMkLst>
            <pc:docMk/>
            <pc:sldMk cId="3766489486" sldId="2203"/>
            <ac:picMk id="26" creationId="{1EEB2C52-6098-438D-8F9E-0399F310C93F}"/>
          </ac:picMkLst>
        </pc:picChg>
        <pc:picChg chg="del">
          <ac:chgData name="Aurelien Domont" userId="6da7715ce44349b3" providerId="LiveId" clId="{A31B6E7A-4C8B-4688-A47B-88935FEF0E5E}" dt="2021-07-19T07:13:29.977" v="1532" actId="478"/>
          <ac:picMkLst>
            <pc:docMk/>
            <pc:sldMk cId="3766489486" sldId="2203"/>
            <ac:picMk id="27" creationId="{664CD2A2-916C-42C6-9DAF-C5C7B8FD3442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47" creationId="{6E058636-C31E-022B-69A6-57F2D3010B2C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48" creationId="{E383AB2F-6609-67A3-0F9A-6FEF383DE2D3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49" creationId="{6F6BAB58-D8A8-9530-4A5F-A698B081A6ED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50" creationId="{0EB828F2-B883-3764-285E-95E59C5D367D}"/>
          </ac:picMkLst>
        </pc:picChg>
        <pc:picChg chg="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52" creationId="{95F49737-54DB-8769-D77F-AEE040D08579}"/>
          </ac:picMkLst>
        </pc:picChg>
        <pc:picChg chg="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55" creationId="{7CF35C00-E412-08F8-00AE-6D2E047BCBBD}"/>
          </ac:picMkLst>
        </pc:picChg>
        <pc:cxnChg chg="mod">
          <ac:chgData name="Aurelien Domont" userId="6da7715ce44349b3" providerId="LiveId" clId="{A31B6E7A-4C8B-4688-A47B-88935FEF0E5E}" dt="2022-08-18T06:56:20.549" v="4923"/>
          <ac:cxnSpMkLst>
            <pc:docMk/>
            <pc:sldMk cId="3766489486" sldId="2203"/>
            <ac:cxnSpMk id="27" creationId="{0CDFFD67-9669-6E27-6312-BD9ABF453ABD}"/>
          </ac:cxnSpMkLst>
        </pc:cxnChg>
        <pc:cxnChg chg="mod">
          <ac:chgData name="Aurelien Domont" userId="6da7715ce44349b3" providerId="LiveId" clId="{A31B6E7A-4C8B-4688-A47B-88935FEF0E5E}" dt="2022-08-18T06:56:20.549" v="4923"/>
          <ac:cxnSpMkLst>
            <pc:docMk/>
            <pc:sldMk cId="3766489486" sldId="2203"/>
            <ac:cxnSpMk id="29" creationId="{80FCC71A-0642-A210-6CA3-D643B1180AB3}"/>
          </ac:cxnSpMkLst>
        </pc:cxnChg>
        <pc:cxnChg chg="mod">
          <ac:chgData name="Aurelien Domont" userId="6da7715ce44349b3" providerId="LiveId" clId="{A31B6E7A-4C8B-4688-A47B-88935FEF0E5E}" dt="2022-08-18T06:56:20.549" v="4923"/>
          <ac:cxnSpMkLst>
            <pc:docMk/>
            <pc:sldMk cId="3766489486" sldId="2203"/>
            <ac:cxnSpMk id="56" creationId="{86F1BAC6-4AE2-6103-CB0B-45B62531A4DD}"/>
          </ac:cxnSpMkLst>
        </pc:cxnChg>
      </pc:sldChg>
      <pc:sldChg chg="addSp delSp modSp new del mod">
        <pc:chgData name="Aurelien Domont" userId="6da7715ce44349b3" providerId="LiveId" clId="{A31B6E7A-4C8B-4688-A47B-88935FEF0E5E}" dt="2021-07-20T00:03:08.675" v="2070" actId="47"/>
        <pc:sldMkLst>
          <pc:docMk/>
          <pc:sldMk cId="1002951486" sldId="2204"/>
        </pc:sldMkLst>
        <pc:spChg chg="add mod">
          <ac:chgData name="Aurelien Domont" userId="6da7715ce44349b3" providerId="LiveId" clId="{A31B6E7A-4C8B-4688-A47B-88935FEF0E5E}" dt="2021-07-19T22:51:48.811" v="1563" actId="13822"/>
          <ac:spMkLst>
            <pc:docMk/>
            <pc:sldMk cId="1002951486" sldId="2204"/>
            <ac:spMk id="3" creationId="{DCE486D8-75D6-4418-BA13-DAC10D8C5915}"/>
          </ac:spMkLst>
        </pc:spChg>
        <pc:picChg chg="add del">
          <ac:chgData name="Aurelien Domont" userId="6da7715ce44349b3" providerId="LiveId" clId="{A31B6E7A-4C8B-4688-A47B-88935FEF0E5E}" dt="2021-07-19T23:47:54.020" v="1778" actId="21"/>
          <ac:picMkLst>
            <pc:docMk/>
            <pc:sldMk cId="1002951486" sldId="2204"/>
            <ac:picMk id="4" creationId="{2D8B4AC1-CBE1-4B7B-9AB5-BD1F91AD3F4F}"/>
          </ac:picMkLst>
        </pc:picChg>
      </pc:sldChg>
      <pc:sldChg chg="add del">
        <pc:chgData name="Aurelien Domont" userId="6da7715ce44349b3" providerId="LiveId" clId="{A31B6E7A-4C8B-4688-A47B-88935FEF0E5E}" dt="2022-08-18T05:51:38.465" v="4487"/>
        <pc:sldMkLst>
          <pc:docMk/>
          <pc:sldMk cId="41853081" sldId="2223"/>
        </pc:sldMkLst>
      </pc:sldChg>
      <pc:sldChg chg="addSp modSp add del">
        <pc:chgData name="Aurelien Domont" userId="6da7715ce44349b3" providerId="LiveId" clId="{A31B6E7A-4C8B-4688-A47B-88935FEF0E5E}" dt="2022-08-18T05:38:00.731" v="4448" actId="47"/>
        <pc:sldMkLst>
          <pc:docMk/>
          <pc:sldMk cId="4068453638" sldId="2224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068453638" sldId="2224"/>
            <ac:spMk id="2" creationId="{7E59BDBC-013A-4F26-9A6C-B3762BFDD4CF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068453638" sldId="2224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2:59:14.844" v="1567"/>
          <ac:spMkLst>
            <pc:docMk/>
            <pc:sldMk cId="4068453638" sldId="2224"/>
            <ac:spMk id="23" creationId="{2F5E7BC9-70DA-4AA1-BC00-8D0E1DC33BA0}"/>
          </ac:spMkLst>
        </pc:spChg>
        <pc:spChg chg="mod">
          <ac:chgData name="Aurelien Domont" userId="6da7715ce44349b3" providerId="LiveId" clId="{A31B6E7A-4C8B-4688-A47B-88935FEF0E5E}" dt="2021-07-19T22:59:14.844" v="1567"/>
          <ac:spMkLst>
            <pc:docMk/>
            <pc:sldMk cId="4068453638" sldId="2224"/>
            <ac:spMk id="24" creationId="{268EDEF3-9A30-4A3D-8FD6-A0B2F581C229}"/>
          </ac:spMkLst>
        </pc:spChg>
        <pc:grpChg chg="add mod">
          <ac:chgData name="Aurelien Domont" userId="6da7715ce44349b3" providerId="LiveId" clId="{A31B6E7A-4C8B-4688-A47B-88935FEF0E5E}" dt="2021-07-19T22:59:14.844" v="1567"/>
          <ac:grpSpMkLst>
            <pc:docMk/>
            <pc:sldMk cId="4068453638" sldId="2224"/>
            <ac:grpSpMk id="22" creationId="{29EDB772-EFF4-4370-82B6-5FBA299621E3}"/>
          </ac:grpSpMkLst>
        </pc:grpChg>
        <pc:cxnChg chg="mod">
          <ac:chgData name="Aurelien Domont" userId="6da7715ce44349b3" providerId="LiveId" clId="{A31B6E7A-4C8B-4688-A47B-88935FEF0E5E}" dt="2021-07-19T22:59:14.844" v="1567"/>
          <ac:cxnSpMkLst>
            <pc:docMk/>
            <pc:sldMk cId="4068453638" sldId="2224"/>
            <ac:cxnSpMk id="25" creationId="{621CDDA4-51FC-4846-8CB3-D7B4CF563961}"/>
          </ac:cxnSpMkLst>
        </pc:cxnChg>
        <pc:cxnChg chg="mod">
          <ac:chgData name="Aurelien Domont" userId="6da7715ce44349b3" providerId="LiveId" clId="{A31B6E7A-4C8B-4688-A47B-88935FEF0E5E}" dt="2021-07-19T22:59:14.844" v="1567"/>
          <ac:cxnSpMkLst>
            <pc:docMk/>
            <pc:sldMk cId="4068453638" sldId="2224"/>
            <ac:cxnSpMk id="26" creationId="{E3AC4D9E-F64B-4F0E-93F8-8B4BCB293C25}"/>
          </ac:cxnSpMkLst>
        </pc:cxnChg>
      </pc:sldChg>
      <pc:sldChg chg="addSp modSp add del mod">
        <pc:chgData name="Aurelien Domont" userId="6da7715ce44349b3" providerId="LiveId" clId="{A31B6E7A-4C8B-4688-A47B-88935FEF0E5E}" dt="2022-08-18T05:38:00.731" v="4448" actId="47"/>
        <pc:sldMkLst>
          <pc:docMk/>
          <pc:sldMk cId="3991579332" sldId="222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991579332" sldId="2225"/>
            <ac:spMk id="2" creationId="{7E59BDBC-013A-4F26-9A6C-B3762BFDD4CF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991579332" sldId="2225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2-24T05:13:20.952" v="2980" actId="1076"/>
          <ac:spMkLst>
            <pc:docMk/>
            <pc:sldMk cId="3991579332" sldId="2225"/>
            <ac:spMk id="22" creationId="{D65C1EC9-2600-428A-8825-8D9F1A2BF17B}"/>
          </ac:spMkLst>
        </pc:spChg>
        <pc:spChg chg="mod">
          <ac:chgData name="Aurelien Domont" userId="6da7715ce44349b3" providerId="LiveId" clId="{A31B6E7A-4C8B-4688-A47B-88935FEF0E5E}" dt="2021-07-19T22:59:16.312" v="1568"/>
          <ac:spMkLst>
            <pc:docMk/>
            <pc:sldMk cId="3991579332" sldId="2225"/>
            <ac:spMk id="25" creationId="{863253A3-F608-4A79-A264-6E50634613CC}"/>
          </ac:spMkLst>
        </pc:spChg>
        <pc:spChg chg="mod">
          <ac:chgData name="Aurelien Domont" userId="6da7715ce44349b3" providerId="LiveId" clId="{A31B6E7A-4C8B-4688-A47B-88935FEF0E5E}" dt="2021-07-19T22:59:16.312" v="1568"/>
          <ac:spMkLst>
            <pc:docMk/>
            <pc:sldMk cId="3991579332" sldId="2225"/>
            <ac:spMk id="26" creationId="{B28AA077-6049-4603-B877-DFC47C35051E}"/>
          </ac:spMkLst>
        </pc:spChg>
        <pc:grpChg chg="add mod">
          <ac:chgData name="Aurelien Domont" userId="6da7715ce44349b3" providerId="LiveId" clId="{A31B6E7A-4C8B-4688-A47B-88935FEF0E5E}" dt="2021-07-19T22:59:16.312" v="1568"/>
          <ac:grpSpMkLst>
            <pc:docMk/>
            <pc:sldMk cId="3991579332" sldId="2225"/>
            <ac:grpSpMk id="21" creationId="{E5FB3A3C-07C9-4462-B37B-14F7F86E0FB9}"/>
          </ac:grpSpMkLst>
        </pc:grpChg>
        <pc:cxnChg chg="mod">
          <ac:chgData name="Aurelien Domont" userId="6da7715ce44349b3" providerId="LiveId" clId="{A31B6E7A-4C8B-4688-A47B-88935FEF0E5E}" dt="2021-07-19T22:59:16.312" v="1568"/>
          <ac:cxnSpMkLst>
            <pc:docMk/>
            <pc:sldMk cId="3991579332" sldId="2225"/>
            <ac:cxnSpMk id="40" creationId="{02602B1F-BB5A-484C-B46B-440DC6928345}"/>
          </ac:cxnSpMkLst>
        </pc:cxnChg>
        <pc:cxnChg chg="mod">
          <ac:chgData name="Aurelien Domont" userId="6da7715ce44349b3" providerId="LiveId" clId="{A31B6E7A-4C8B-4688-A47B-88935FEF0E5E}" dt="2021-07-19T22:59:16.312" v="1568"/>
          <ac:cxnSpMkLst>
            <pc:docMk/>
            <pc:sldMk cId="3991579332" sldId="2225"/>
            <ac:cxnSpMk id="41" creationId="{6BDDB2A9-32C4-4605-B892-F99AA67617E3}"/>
          </ac:cxnSpMkLst>
        </pc:cxnChg>
      </pc:sldChg>
      <pc:sldChg chg="modSp add del">
        <pc:chgData name="Aurelien Domont" userId="6da7715ce44349b3" providerId="LiveId" clId="{A31B6E7A-4C8B-4688-A47B-88935FEF0E5E}" dt="2022-08-18T05:42:09.071" v="4467" actId="47"/>
        <pc:sldMkLst>
          <pc:docMk/>
          <pc:sldMk cId="596848117" sldId="2226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596848117" sldId="2226"/>
            <ac:spMk id="4" creationId="{6F7AE37A-9246-4985-8F29-8D68449D9F28}"/>
          </ac:spMkLst>
        </pc:spChg>
      </pc:sldChg>
      <pc:sldChg chg="addSp modSp add del mod">
        <pc:chgData name="Aurelien Domont" userId="6da7715ce44349b3" providerId="LiveId" clId="{A31B6E7A-4C8B-4688-A47B-88935FEF0E5E}" dt="2021-07-19T23:40:27.224" v="1718" actId="47"/>
        <pc:sldMkLst>
          <pc:docMk/>
          <pc:sldMk cId="1246272945" sldId="2226"/>
        </pc:sldMkLst>
        <pc:spChg chg="add mod ord">
          <ac:chgData name="Aurelien Domont" userId="6da7715ce44349b3" providerId="LiveId" clId="{A31B6E7A-4C8B-4688-A47B-88935FEF0E5E}" dt="2021-07-19T23:39:50.709" v="1682" actId="167"/>
          <ac:spMkLst>
            <pc:docMk/>
            <pc:sldMk cId="1246272945" sldId="2226"/>
            <ac:spMk id="15" creationId="{4BD5E840-2233-4603-BF3A-99BE44AA6F0A}"/>
          </ac:spMkLst>
        </pc:spChg>
      </pc:sldChg>
      <pc:sldChg chg="addSp delSp modSp add mod ord">
        <pc:chgData name="Aurelien Domont" userId="6da7715ce44349b3" providerId="LiveId" clId="{A31B6E7A-4C8B-4688-A47B-88935FEF0E5E}" dt="2022-08-18T05:41:46.803" v="4466" actId="6549"/>
        <pc:sldMkLst>
          <pc:docMk/>
          <pc:sldMk cId="1081148331" sldId="2227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081148331" sldId="2227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1-07-20T00:34:44.942" v="2905" actId="20577"/>
          <ac:spMkLst>
            <pc:docMk/>
            <pc:sldMk cId="1081148331" sldId="2227"/>
            <ac:spMk id="12" creationId="{E7675798-47BC-4250-BA24-0E2AC4A10A86}"/>
          </ac:spMkLst>
        </pc:spChg>
        <pc:spChg chg="mod">
          <ac:chgData name="Aurelien Domont" userId="6da7715ce44349b3" providerId="LiveId" clId="{A31B6E7A-4C8B-4688-A47B-88935FEF0E5E}" dt="2021-07-19T23:53:24.896" v="1903" actId="20577"/>
          <ac:spMkLst>
            <pc:docMk/>
            <pc:sldMk cId="1081148331" sldId="2227"/>
            <ac:spMk id="15" creationId="{9D051C05-62A5-4FB5-846C-31987D33AA9E}"/>
          </ac:spMkLst>
        </pc:spChg>
        <pc:spChg chg="mod">
          <ac:chgData name="Aurelien Domont" userId="6da7715ce44349b3" providerId="LiveId" clId="{A31B6E7A-4C8B-4688-A47B-88935FEF0E5E}" dt="2022-08-18T05:41:46.803" v="4466" actId="6549"/>
          <ac:spMkLst>
            <pc:docMk/>
            <pc:sldMk cId="1081148331" sldId="2227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3:53:04.760" v="1874" actId="20577"/>
          <ac:spMkLst>
            <pc:docMk/>
            <pc:sldMk cId="1081148331" sldId="2227"/>
            <ac:spMk id="17" creationId="{142BE8BF-9256-475D-900B-55FCC0CE6DB5}"/>
          </ac:spMkLst>
        </pc:spChg>
        <pc:spChg chg="mod">
          <ac:chgData name="Aurelien Domont" userId="6da7715ce44349b3" providerId="LiveId" clId="{A31B6E7A-4C8B-4688-A47B-88935FEF0E5E}" dt="2021-07-19T23:53:35.405" v="1921" actId="20577"/>
          <ac:spMkLst>
            <pc:docMk/>
            <pc:sldMk cId="1081148331" sldId="2227"/>
            <ac:spMk id="19" creationId="{B9017FA6-F0E0-4269-9C6B-53FA5BEF3E64}"/>
          </ac:spMkLst>
        </pc:spChg>
        <pc:picChg chg="add del mod ord">
          <ac:chgData name="Aurelien Domont" userId="6da7715ce44349b3" providerId="LiveId" clId="{A31B6E7A-4C8B-4688-A47B-88935FEF0E5E}" dt="2021-07-20T00:34:24.801" v="2873" actId="478"/>
          <ac:picMkLst>
            <pc:docMk/>
            <pc:sldMk cId="1081148331" sldId="2227"/>
            <ac:picMk id="2" creationId="{6C322811-62AC-4A5C-A218-6E3C0744276F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3" creationId="{7E1B73C2-6F34-4ECE-8FE3-BD6AFB067BFE}"/>
          </ac:picMkLst>
        </pc:picChg>
        <pc:picChg chg="add mod ord">
          <ac:chgData name="Aurelien Domont" userId="6da7715ce44349b3" providerId="LiveId" clId="{A31B6E7A-4C8B-4688-A47B-88935FEF0E5E}" dt="2021-07-19T23:52:11.809" v="1800" actId="167"/>
          <ac:picMkLst>
            <pc:docMk/>
            <pc:sldMk cId="1081148331" sldId="2227"/>
            <ac:picMk id="4" creationId="{781077EC-D7D9-4550-A450-8C231EE5A2AA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11" creationId="{95220DC0-3B3C-43DF-95DC-A2145D2BC06F}"/>
          </ac:picMkLst>
        </pc:picChg>
        <pc:picChg chg="add mod ord">
          <ac:chgData name="Aurelien Domont" userId="6da7715ce44349b3" providerId="LiveId" clId="{A31B6E7A-4C8B-4688-A47B-88935FEF0E5E}" dt="2021-07-19T23:52:11.809" v="1800" actId="167"/>
          <ac:picMkLst>
            <pc:docMk/>
            <pc:sldMk cId="1081148331" sldId="2227"/>
            <ac:picMk id="14" creationId="{58D72F03-2163-4077-994C-1ED5EC97DE83}"/>
          </ac:picMkLst>
        </pc:picChg>
        <pc:picChg chg="add mod ord">
          <ac:chgData name="Aurelien Domont" userId="6da7715ce44349b3" providerId="LiveId" clId="{A31B6E7A-4C8B-4688-A47B-88935FEF0E5E}" dt="2021-07-20T00:34:22.527" v="2872"/>
          <ac:picMkLst>
            <pc:docMk/>
            <pc:sldMk cId="1081148331" sldId="2227"/>
            <ac:picMk id="20" creationId="{5F08BE93-277D-4123-AB50-40BD79755672}"/>
          </ac:picMkLst>
        </pc:picChg>
        <pc:picChg chg="add mod ord">
          <ac:chgData name="Aurelien Domont" userId="6da7715ce44349b3" providerId="LiveId" clId="{A31B6E7A-4C8B-4688-A47B-88935FEF0E5E}" dt="2021-07-20T00:34:20.770" v="2871" actId="167"/>
          <ac:picMkLst>
            <pc:docMk/>
            <pc:sldMk cId="1081148331" sldId="2227"/>
            <ac:picMk id="21" creationId="{873E95D7-4F60-46F9-8B57-FED30ECEEFF3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23" creationId="{4300007E-97CD-40C6-A419-43571A4C5B62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25" creationId="{FFC757AF-447E-451D-B165-61D31CDE0315}"/>
          </ac:picMkLst>
        </pc:picChg>
      </pc:sldChg>
      <pc:sldChg chg="modSp add del mod">
        <pc:chgData name="Aurelien Domont" userId="6da7715ce44349b3" providerId="LiveId" clId="{A31B6E7A-4C8B-4688-A47B-88935FEF0E5E}" dt="2021-07-19T23:40:31.274" v="1719" actId="47"/>
        <pc:sldMkLst>
          <pc:docMk/>
          <pc:sldMk cId="3137656151" sldId="2227"/>
        </pc:sldMkLst>
        <pc:spChg chg="mod">
          <ac:chgData name="Aurelien Domont" userId="6da7715ce44349b3" providerId="LiveId" clId="{A31B6E7A-4C8B-4688-A47B-88935FEF0E5E}" dt="2021-07-19T23:40:06.877" v="1717" actId="14100"/>
          <ac:spMkLst>
            <pc:docMk/>
            <pc:sldMk cId="3137656151" sldId="2227"/>
            <ac:spMk id="15" creationId="{4BD5E840-2233-4603-BF3A-99BE44AA6F0A}"/>
          </ac:spMkLst>
        </pc:spChg>
      </pc:sldChg>
      <pc:sldChg chg="add">
        <pc:chgData name="Aurelien Domont" userId="6da7715ce44349b3" providerId="LiveId" clId="{A31B6E7A-4C8B-4688-A47B-88935FEF0E5E}" dt="2022-02-24T05:21:04.456" v="3003"/>
        <pc:sldMkLst>
          <pc:docMk/>
          <pc:sldMk cId="2721199826" sldId="2239"/>
        </pc:sldMkLst>
      </pc:sldChg>
      <pc:sldChg chg="modSp add del">
        <pc:chgData name="Aurelien Domont" userId="6da7715ce44349b3" providerId="LiveId" clId="{A31B6E7A-4C8B-4688-A47B-88935FEF0E5E}" dt="2022-08-18T05:42:09.071" v="4467" actId="47"/>
        <pc:sldMkLst>
          <pc:docMk/>
          <pc:sldMk cId="1547606376" sldId="2252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547606376" sldId="2252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547606376" sldId="2252"/>
            <ac:spMk id="14" creationId="{C9800183-F524-4412-AB39-A6E1A21FF0B3}"/>
          </ac:spMkLst>
        </pc:spChg>
      </pc:sldChg>
      <pc:sldChg chg="addSp delSp modSp add del mod">
        <pc:chgData name="Aurelien Domont" userId="6da7715ce44349b3" providerId="LiveId" clId="{A31B6E7A-4C8B-4688-A47B-88935FEF0E5E}" dt="2022-08-18T05:42:09.071" v="4467" actId="47"/>
        <pc:sldMkLst>
          <pc:docMk/>
          <pc:sldMk cId="811731798" sldId="2253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811731798" sldId="2253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1-07-20T00:01:42.784" v="1973"/>
          <ac:spMkLst>
            <pc:docMk/>
            <pc:sldMk cId="811731798" sldId="2253"/>
            <ac:spMk id="12" creationId="{E7675798-47BC-4250-BA24-0E2AC4A10A86}"/>
          </ac:spMkLst>
        </pc:spChg>
        <pc:spChg chg="mod">
          <ac:chgData name="Aurelien Domont" userId="6da7715ce44349b3" providerId="LiveId" clId="{A31B6E7A-4C8B-4688-A47B-88935FEF0E5E}" dt="2021-07-20T00:02:31.159" v="2039" actId="313"/>
          <ac:spMkLst>
            <pc:docMk/>
            <pc:sldMk cId="811731798" sldId="2253"/>
            <ac:spMk id="15" creationId="{9D051C05-62A5-4FB5-846C-31987D33AA9E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811731798" sldId="2253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20T00:01:53.860" v="2002" actId="20577"/>
          <ac:spMkLst>
            <pc:docMk/>
            <pc:sldMk cId="811731798" sldId="2253"/>
            <ac:spMk id="17" creationId="{142BE8BF-9256-475D-900B-55FCC0CE6DB5}"/>
          </ac:spMkLst>
        </pc:spChg>
        <pc:spChg chg="mod">
          <ac:chgData name="Aurelien Domont" userId="6da7715ce44349b3" providerId="LiveId" clId="{A31B6E7A-4C8B-4688-A47B-88935FEF0E5E}" dt="2021-07-20T00:02:44.217" v="2067" actId="20577"/>
          <ac:spMkLst>
            <pc:docMk/>
            <pc:sldMk cId="811731798" sldId="2253"/>
            <ac:spMk id="19" creationId="{B9017FA6-F0E0-4269-9C6B-53FA5BEF3E64}"/>
          </ac:spMkLst>
        </pc:sp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2" creationId="{6C322811-62AC-4A5C-A218-6E3C0744276F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3" creationId="{77B31632-458C-42B3-83D6-CB1656984AD9}"/>
          </ac:picMkLst>
        </pc:pic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4" creationId="{781077EC-D7D9-4550-A450-8C231EE5A2AA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11" creationId="{A5852393-8ED0-4097-98F3-3E4BB5A6CC91}"/>
          </ac:picMkLst>
        </pc:pic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14" creationId="{58D72F03-2163-4077-994C-1ED5EC97DE83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18" creationId="{891C07E3-BEC3-4511-BAD6-91656F09A1F4}"/>
          </ac:picMkLst>
        </pc:pic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20" creationId="{5F08BE93-277D-4123-AB50-40BD79755672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21" creationId="{D0CCA2BD-020C-4F18-B13E-F81A75D723DF}"/>
          </ac:picMkLst>
        </pc:picChg>
      </pc:sldChg>
      <pc:sldChg chg="add del">
        <pc:chgData name="Aurelien Domont" userId="6da7715ce44349b3" providerId="LiveId" clId="{A31B6E7A-4C8B-4688-A47B-88935FEF0E5E}" dt="2021-07-20T00:21:20.826" v="2826" actId="47"/>
        <pc:sldMkLst>
          <pc:docMk/>
          <pc:sldMk cId="376027930" sldId="2254"/>
        </pc:sldMkLst>
      </pc:sldChg>
      <pc:sldChg chg="addSp delSp modSp add mod ord">
        <pc:chgData name="Aurelien Domont" userId="6da7715ce44349b3" providerId="LiveId" clId="{A31B6E7A-4C8B-4688-A47B-88935FEF0E5E}" dt="2022-09-09T04:49:27.940" v="5147" actId="20577"/>
        <pc:sldMkLst>
          <pc:docMk/>
          <pc:sldMk cId="1496818132" sldId="2254"/>
        </pc:sldMkLst>
        <pc:spChg chg="add mod">
          <ac:chgData name="Aurelien Domont" userId="6da7715ce44349b3" providerId="LiveId" clId="{A31B6E7A-4C8B-4688-A47B-88935FEF0E5E}" dt="2022-09-09T04:48:44.499" v="5083" actId="1076"/>
          <ac:spMkLst>
            <pc:docMk/>
            <pc:sldMk cId="1496818132" sldId="2254"/>
            <ac:spMk id="2" creationId="{663F4C7F-7428-7F9B-2172-9423CB8B13BE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2" creationId="{DA7B20FC-77C7-B3EB-ED6F-EBEC099C98A0}"/>
          </ac:spMkLst>
        </pc:spChg>
        <pc:spChg chg="mod">
          <ac:chgData name="Aurelien Domont" userId="6da7715ce44349b3" providerId="LiveId" clId="{A31B6E7A-4C8B-4688-A47B-88935FEF0E5E}" dt="2022-08-16T03:01:02.421" v="3997" actId="1036"/>
          <ac:spMkLst>
            <pc:docMk/>
            <pc:sldMk cId="1496818132" sldId="2254"/>
            <ac:spMk id="3" creationId="{90A5CC39-924F-B560-B361-10BCCFC27B3E}"/>
          </ac:spMkLst>
        </pc:spChg>
        <pc:spChg chg="mod">
          <ac:chgData name="Aurelien Domont" userId="6da7715ce44349b3" providerId="LiveId" clId="{A31B6E7A-4C8B-4688-A47B-88935FEF0E5E}" dt="2022-08-16T03:01:02.421" v="3997" actId="1036"/>
          <ac:spMkLst>
            <pc:docMk/>
            <pc:sldMk cId="1496818132" sldId="2254"/>
            <ac:spMk id="4" creationId="{8218B653-FC0A-1710-77DA-0AC271D0250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496818132" sldId="2254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9-09T04:49:27.940" v="5147" actId="20577"/>
          <ac:spMkLst>
            <pc:docMk/>
            <pc:sldMk cId="1496818132" sldId="2254"/>
            <ac:spMk id="6" creationId="{5E657894-833D-8D63-6224-624169DF702A}"/>
          </ac:spMkLst>
        </pc:spChg>
        <pc:spChg chg="del">
          <ac:chgData name="Aurelien Domont" userId="6da7715ce44349b3" providerId="LiveId" clId="{A31B6E7A-4C8B-4688-A47B-88935FEF0E5E}" dt="2022-08-16T01:30:15.560" v="3428" actId="478"/>
          <ac:spMkLst>
            <pc:docMk/>
            <pc:sldMk cId="1496818132" sldId="2254"/>
            <ac:spMk id="6" creationId="{F004254A-A3AA-EA91-96B2-76BB77CCCC38}"/>
          </ac:spMkLst>
        </pc:spChg>
        <pc:spChg chg="del mod">
          <ac:chgData name="Aurelien Domont" userId="6da7715ce44349b3" providerId="LiveId" clId="{A31B6E7A-4C8B-4688-A47B-88935FEF0E5E}" dt="2022-08-18T05:06:04.393" v="4435" actId="478"/>
          <ac:spMkLst>
            <pc:docMk/>
            <pc:sldMk cId="1496818132" sldId="2254"/>
            <ac:spMk id="7" creationId="{1048E8FF-05B8-A098-7C86-371A4FC9FBE1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8" creationId="{7339DACD-77ED-20E5-023E-5475FAE8D7D4}"/>
          </ac:spMkLst>
        </pc:spChg>
        <pc:spChg chg="mod">
          <ac:chgData name="Aurelien Domont" userId="6da7715ce44349b3" providerId="LiveId" clId="{A31B6E7A-4C8B-4688-A47B-88935FEF0E5E}" dt="2022-08-18T02:18:55.591" v="4433" actId="20577"/>
          <ac:spMkLst>
            <pc:docMk/>
            <pc:sldMk cId="1496818132" sldId="2254"/>
            <ac:spMk id="9" creationId="{924DE41C-0E96-914B-DD9E-D888CFAB3A0C}"/>
          </ac:spMkLst>
        </pc:spChg>
        <pc:spChg chg="mod">
          <ac:chgData name="Aurelien Domont" userId="6da7715ce44349b3" providerId="LiveId" clId="{A31B6E7A-4C8B-4688-A47B-88935FEF0E5E}" dt="2022-08-16T03:21:25.586" v="4181" actId="20577"/>
          <ac:spMkLst>
            <pc:docMk/>
            <pc:sldMk cId="1496818132" sldId="2254"/>
            <ac:spMk id="15" creationId="{732724F5-813D-4E0C-955B-93EC1AD01210}"/>
          </ac:spMkLst>
        </pc:spChg>
        <pc:spChg chg="mod">
          <ac:chgData name="Aurelien Domont" userId="6da7715ce44349b3" providerId="LiveId" clId="{A31B6E7A-4C8B-4688-A47B-88935FEF0E5E}" dt="2022-08-16T01:34:58.072" v="3514" actId="408"/>
          <ac:spMkLst>
            <pc:docMk/>
            <pc:sldMk cId="1496818132" sldId="2254"/>
            <ac:spMk id="17" creationId="{BAEEACBE-E39A-4BC1-B55D-166857BB1CEC}"/>
          </ac:spMkLst>
        </pc:spChg>
        <pc:spChg chg="mod">
          <ac:chgData name="Aurelien Domont" userId="6da7715ce44349b3" providerId="LiveId" clId="{A31B6E7A-4C8B-4688-A47B-88935FEF0E5E}" dt="2022-08-17T04:07:02.940" v="4413" actId="20577"/>
          <ac:spMkLst>
            <pc:docMk/>
            <pc:sldMk cId="1496818132" sldId="2254"/>
            <ac:spMk id="18" creationId="{FCD01D50-6898-4F94-A2D3-151F072B5E6A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19" creationId="{F489BD6B-E177-F52B-0515-AFAA10ED2ADE}"/>
          </ac:spMkLst>
        </pc:spChg>
        <pc:spChg chg="mod">
          <ac:chgData name="Aurelien Domont" userId="6da7715ce44349b3" providerId="LiveId" clId="{A31B6E7A-4C8B-4688-A47B-88935FEF0E5E}" dt="2022-08-18T23:57:09.453" v="4969" actId="20577"/>
          <ac:spMkLst>
            <pc:docMk/>
            <pc:sldMk cId="1496818132" sldId="2254"/>
            <ac:spMk id="21" creationId="{04475BBB-2493-447A-9108-B1FDDAAEE739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22" creationId="{392D4485-F6C7-3BAD-8487-3CAE66EF0EF5}"/>
          </ac:spMkLst>
        </pc:spChg>
        <pc:spChg chg="add mod">
          <ac:chgData name="Aurelien Domont" userId="6da7715ce44349b3" providerId="LiveId" clId="{A31B6E7A-4C8B-4688-A47B-88935FEF0E5E}" dt="2022-08-16T02:59:23.499" v="3984" actId="20577"/>
          <ac:spMkLst>
            <pc:docMk/>
            <pc:sldMk cId="1496818132" sldId="2254"/>
            <ac:spMk id="23" creationId="{28367C24-9AE2-0620-1A38-DBDEA6B16085}"/>
          </ac:spMkLst>
        </pc:spChg>
        <pc:spChg chg="add mod">
          <ac:chgData name="Aurelien Domont" userId="6da7715ce44349b3" providerId="LiveId" clId="{A31B6E7A-4C8B-4688-A47B-88935FEF0E5E}" dt="2022-08-16T01:37:50.134" v="3684" actId="571"/>
          <ac:spMkLst>
            <pc:docMk/>
            <pc:sldMk cId="1496818132" sldId="2254"/>
            <ac:spMk id="24" creationId="{CF898315-43E5-A694-FB01-B7A576FAD186}"/>
          </ac:spMkLst>
        </pc:spChg>
        <pc:spChg chg="mod">
          <ac:chgData name="Aurelien Domont" userId="6da7715ce44349b3" providerId="LiveId" clId="{A31B6E7A-4C8B-4688-A47B-88935FEF0E5E}" dt="2022-08-17T03:43:44.074" v="4395" actId="20577"/>
          <ac:spMkLst>
            <pc:docMk/>
            <pc:sldMk cId="1496818132" sldId="2254"/>
            <ac:spMk id="26" creationId="{1963B5D8-6D53-5636-94E7-49DE57DC1E07}"/>
          </ac:spMkLst>
        </pc:spChg>
        <pc:spChg chg="add mod">
          <ac:chgData name="Aurelien Domont" userId="6da7715ce44349b3" providerId="LiveId" clId="{A31B6E7A-4C8B-4688-A47B-88935FEF0E5E}" dt="2022-08-16T01:37:55.368" v="3686" actId="571"/>
          <ac:spMkLst>
            <pc:docMk/>
            <pc:sldMk cId="1496818132" sldId="2254"/>
            <ac:spMk id="28" creationId="{7931F133-D6C1-959F-74F8-8BAB94B4F8D1}"/>
          </ac:spMkLst>
        </pc:spChg>
        <pc:spChg chg="add mod">
          <ac:chgData name="Aurelien Domont" userId="6da7715ce44349b3" providerId="LiveId" clId="{A31B6E7A-4C8B-4688-A47B-88935FEF0E5E}" dt="2022-08-18T00:11:40.274" v="4425" actId="20577"/>
          <ac:spMkLst>
            <pc:docMk/>
            <pc:sldMk cId="1496818132" sldId="2254"/>
            <ac:spMk id="30" creationId="{ABCF8935-0CD9-DD33-5AE1-DDDEDF2F79B3}"/>
          </ac:spMkLst>
        </pc:spChg>
        <pc:spChg chg="add del mod">
          <ac:chgData name="Aurelien Domont" userId="6da7715ce44349b3" providerId="LiveId" clId="{A31B6E7A-4C8B-4688-A47B-88935FEF0E5E}" dt="2022-08-16T02:58:07.364" v="3974" actId="478"/>
          <ac:spMkLst>
            <pc:docMk/>
            <pc:sldMk cId="1496818132" sldId="2254"/>
            <ac:spMk id="32" creationId="{5CE3B5D4-C6E6-07B8-C193-59F4E69199F2}"/>
          </ac:spMkLst>
        </pc:spChg>
        <pc:spChg chg="add del mod">
          <ac:chgData name="Aurelien Domont" userId="6da7715ce44349b3" providerId="LiveId" clId="{A31B6E7A-4C8B-4688-A47B-88935FEF0E5E}" dt="2022-08-16T02:58:07.364" v="3974" actId="478"/>
          <ac:spMkLst>
            <pc:docMk/>
            <pc:sldMk cId="1496818132" sldId="2254"/>
            <ac:spMk id="33" creationId="{840558C8-EB76-21B0-4540-221E3E1C09D9}"/>
          </ac:spMkLst>
        </pc:spChg>
        <pc:picChg chg="mod">
          <ac:chgData name="Aurelien Domont" userId="6da7715ce44349b3" providerId="LiveId" clId="{A31B6E7A-4C8B-4688-A47B-88935FEF0E5E}" dt="2022-08-16T03:01:02.421" v="3997" actId="1036"/>
          <ac:picMkLst>
            <pc:docMk/>
            <pc:sldMk cId="1496818132" sldId="2254"/>
            <ac:picMk id="10" creationId="{35D931AB-37DA-E9B9-595B-6A746D282FFC}"/>
          </ac:picMkLst>
        </pc:picChg>
        <pc:picChg chg="mod">
          <ac:chgData name="Aurelien Domont" userId="6da7715ce44349b3" providerId="LiveId" clId="{A31B6E7A-4C8B-4688-A47B-88935FEF0E5E}" dt="2022-08-16T03:03:44.553" v="4050" actId="1038"/>
          <ac:picMkLst>
            <pc:docMk/>
            <pc:sldMk cId="1496818132" sldId="2254"/>
            <ac:picMk id="11" creationId="{F7023286-7E4D-54F9-9F97-2A16587B14C4}"/>
          </ac:picMkLst>
        </pc:picChg>
        <pc:picChg chg="del">
          <ac:chgData name="Aurelien Domont" userId="6da7715ce44349b3" providerId="LiveId" clId="{A31B6E7A-4C8B-4688-A47B-88935FEF0E5E}" dt="2022-08-16T01:30:15.560" v="3428" actId="478"/>
          <ac:picMkLst>
            <pc:docMk/>
            <pc:sldMk cId="1496818132" sldId="2254"/>
            <ac:picMk id="12" creationId="{7D6EE138-ACDE-DB7B-C58E-28B682DF7D8F}"/>
          </ac:picMkLst>
        </pc:picChg>
        <pc:picChg chg="mod">
          <ac:chgData name="Aurelien Domont" userId="6da7715ce44349b3" providerId="LiveId" clId="{A31B6E7A-4C8B-4688-A47B-88935FEF0E5E}" dt="2022-08-16T03:04:05.407" v="4053" actId="1076"/>
          <ac:picMkLst>
            <pc:docMk/>
            <pc:sldMk cId="1496818132" sldId="2254"/>
            <ac:picMk id="14" creationId="{DBDFB990-AAB1-CE03-158E-0DD639C28A01}"/>
          </ac:picMkLst>
        </pc:picChg>
        <pc:picChg chg="mod">
          <ac:chgData name="Aurelien Domont" userId="6da7715ce44349b3" providerId="LiveId" clId="{A31B6E7A-4C8B-4688-A47B-88935FEF0E5E}" dt="2022-08-16T03:01:02.421" v="3997" actId="1036"/>
          <ac:picMkLst>
            <pc:docMk/>
            <pc:sldMk cId="1496818132" sldId="2254"/>
            <ac:picMk id="27" creationId="{782C61AD-99C7-CBAC-C8BA-E135AAA3D365}"/>
          </ac:picMkLst>
        </pc:picChg>
        <pc:picChg chg="del">
          <ac:chgData name="Aurelien Domont" userId="6da7715ce44349b3" providerId="LiveId" clId="{A31B6E7A-4C8B-4688-A47B-88935FEF0E5E}" dt="2022-08-16T03:04:08.391" v="4054" actId="478"/>
          <ac:picMkLst>
            <pc:docMk/>
            <pc:sldMk cId="1496818132" sldId="2254"/>
            <ac:picMk id="31" creationId="{C92DB229-1822-62B7-E042-F14BF3C7F95E}"/>
          </ac:picMkLst>
        </pc:picChg>
        <pc:picChg chg="add mod">
          <ac:chgData name="Aurelien Domont" userId="6da7715ce44349b3" providerId="LiveId" clId="{A31B6E7A-4C8B-4688-A47B-88935FEF0E5E}" dt="2022-08-16T03:04:00.751" v="4052" actId="1076"/>
          <ac:picMkLst>
            <pc:docMk/>
            <pc:sldMk cId="1496818132" sldId="2254"/>
            <ac:picMk id="35" creationId="{28FA8F3B-3159-0597-9A34-43B336B3274B}"/>
          </ac:picMkLst>
        </pc:picChg>
        <pc:picChg chg="add mod">
          <ac:chgData name="Aurelien Domont" userId="6da7715ce44349b3" providerId="LiveId" clId="{A31B6E7A-4C8B-4688-A47B-88935FEF0E5E}" dt="2022-08-16T03:06:19.100" v="4066" actId="14100"/>
          <ac:picMkLst>
            <pc:docMk/>
            <pc:sldMk cId="1496818132" sldId="2254"/>
            <ac:picMk id="37" creationId="{C1404C6B-EFF0-0834-79FB-FF4DFBD916F2}"/>
          </ac:picMkLst>
        </pc:picChg>
        <pc:cxnChg chg="del mod">
          <ac:chgData name="Aurelien Domont" userId="6da7715ce44349b3" providerId="LiveId" clId="{A31B6E7A-4C8B-4688-A47B-88935FEF0E5E}" dt="2022-08-16T03:15:44.313" v="4154" actId="478"/>
          <ac:cxnSpMkLst>
            <pc:docMk/>
            <pc:sldMk cId="1496818132" sldId="2254"/>
            <ac:cxnSpMk id="20" creationId="{F8BD6945-E3F1-B340-441B-693F15468713}"/>
          </ac:cxnSpMkLst>
        </pc:cxnChg>
        <pc:cxnChg chg="del mod">
          <ac:chgData name="Aurelien Domont" userId="6da7715ce44349b3" providerId="LiveId" clId="{A31B6E7A-4C8B-4688-A47B-88935FEF0E5E}" dt="2022-08-16T01:37:39.623" v="3682" actId="478"/>
          <ac:cxnSpMkLst>
            <pc:docMk/>
            <pc:sldMk cId="1496818132" sldId="2254"/>
            <ac:cxnSpMk id="25" creationId="{A049DC07-C54F-7666-CD70-C9C4008399BE}"/>
          </ac:cxnSpMkLst>
        </pc:cxnChg>
        <pc:cxnChg chg="add del mod">
          <ac:chgData name="Aurelien Domont" userId="6da7715ce44349b3" providerId="LiveId" clId="{A31B6E7A-4C8B-4688-A47B-88935FEF0E5E}" dt="2022-08-16T03:15:46.126" v="4155" actId="478"/>
          <ac:cxnSpMkLst>
            <pc:docMk/>
            <pc:sldMk cId="1496818132" sldId="2254"/>
            <ac:cxnSpMk id="29" creationId="{8B3BF25A-ED04-F69B-1276-C52D44F29BCE}"/>
          </ac:cxnSpMkLst>
        </pc:cxnChg>
        <pc:cxnChg chg="add mod">
          <ac:chgData name="Aurelien Domont" userId="6da7715ce44349b3" providerId="LiveId" clId="{A31B6E7A-4C8B-4688-A47B-88935FEF0E5E}" dt="2022-08-16T03:02:22.866" v="4013" actId="208"/>
          <ac:cxnSpMkLst>
            <pc:docMk/>
            <pc:sldMk cId="1496818132" sldId="2254"/>
            <ac:cxnSpMk id="34" creationId="{92C3D4BB-0BAE-EE43-89E7-5D3506538626}"/>
          </ac:cxnSpMkLst>
        </pc:cxnChg>
        <pc:cxnChg chg="add mod">
          <ac:chgData name="Aurelien Domont" userId="6da7715ce44349b3" providerId="LiveId" clId="{A31B6E7A-4C8B-4688-A47B-88935FEF0E5E}" dt="2022-08-16T03:16:01.765" v="4164" actId="1038"/>
          <ac:cxnSpMkLst>
            <pc:docMk/>
            <pc:sldMk cId="1496818132" sldId="2254"/>
            <ac:cxnSpMk id="38" creationId="{6266A661-C2A7-3312-5177-A845867625F3}"/>
          </ac:cxnSpMkLst>
        </pc:cxnChg>
        <pc:cxnChg chg="add mod">
          <ac:chgData name="Aurelien Domont" userId="6da7715ce44349b3" providerId="LiveId" clId="{A31B6E7A-4C8B-4688-A47B-88935FEF0E5E}" dt="2022-08-16T03:15:58.141" v="4161" actId="1037"/>
          <ac:cxnSpMkLst>
            <pc:docMk/>
            <pc:sldMk cId="1496818132" sldId="2254"/>
            <ac:cxnSpMk id="39" creationId="{0E70ECA8-AC52-F1BD-1415-4B54F611A7C8}"/>
          </ac:cxnSpMkLst>
        </pc:cxnChg>
      </pc:sldChg>
      <pc:sldChg chg="addSp modSp new del mod">
        <pc:chgData name="Aurelien Domont" userId="6da7715ce44349b3" providerId="LiveId" clId="{A31B6E7A-4C8B-4688-A47B-88935FEF0E5E}" dt="2022-08-18T06:05:21.330" v="4500" actId="47"/>
        <pc:sldMkLst>
          <pc:docMk/>
          <pc:sldMk cId="3429118501" sldId="225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2" creationId="{D98E2C7B-A856-8470-DAF5-50CEB6E18787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3" creationId="{F7B76500-A4A2-0C0A-8AA2-69B7B93FD29B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4" creationId="{E0928C6C-A109-5440-FAF0-1CB266C493C7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5" creationId="{C9EEFF3D-CE99-4936-FB43-2D30F3290C8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6" creationId="{E6B9CFDD-D916-995E-44BA-2CB4285030EA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7" creationId="{DD53C333-CF7A-320F-154E-27CAD85AC622}"/>
          </ac:spMkLst>
        </pc:spChg>
        <pc:spChg chg="add mod">
          <ac:chgData name="Aurelien Domont" userId="6da7715ce44349b3" providerId="LiveId" clId="{A31B6E7A-4C8B-4688-A47B-88935FEF0E5E}" dt="2022-08-18T05:36:10.121" v="4442" actId="207"/>
          <ac:spMkLst>
            <pc:docMk/>
            <pc:sldMk cId="3429118501" sldId="2255"/>
            <ac:spMk id="8" creationId="{B8817C3E-3745-BAFC-F700-05F874E9FFB1}"/>
          </ac:spMkLst>
        </pc:spChg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176684190" sldId="2256"/>
        </pc:sldMkLst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12088286" sldId="2257"/>
        </pc:sldMkLst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2875223496" sldId="2258"/>
        </pc:sldMkLst>
      </pc:sldChg>
      <pc:sldChg chg="add">
        <pc:chgData name="Aurelien Domont" userId="6da7715ce44349b3" providerId="LiveId" clId="{A31B6E7A-4C8B-4688-A47B-88935FEF0E5E}" dt="2022-08-18T05:39:46.094" v="4450"/>
        <pc:sldMkLst>
          <pc:docMk/>
          <pc:sldMk cId="3773085437" sldId="2373"/>
        </pc:sldMkLst>
      </pc:sldChg>
      <pc:sldChg chg="add del">
        <pc:chgData name="Aurelien Domont" userId="6da7715ce44349b3" providerId="LiveId" clId="{A31B6E7A-4C8B-4688-A47B-88935FEF0E5E}" dt="2022-08-18T05:40:13.020" v="4452" actId="47"/>
        <pc:sldMkLst>
          <pc:docMk/>
          <pc:sldMk cId="3839027130" sldId="2375"/>
        </pc:sldMkLst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212229395" sldId="2380"/>
        </pc:sldMkLst>
      </pc:sldChg>
      <pc:sldChg chg="modSp add mod">
        <pc:chgData name="Aurelien Domont" userId="6da7715ce44349b3" providerId="LiveId" clId="{A31B6E7A-4C8B-4688-A47B-88935FEF0E5E}" dt="2022-08-18T23:58:15.380" v="4971"/>
        <pc:sldMkLst>
          <pc:docMk/>
          <pc:sldMk cId="3626704697" sldId="2381"/>
        </pc:sldMkLst>
        <pc:spChg chg="mod">
          <ac:chgData name="Aurelien Domont" userId="6da7715ce44349b3" providerId="LiveId" clId="{A31B6E7A-4C8B-4688-A47B-88935FEF0E5E}" dt="2022-08-18T05:37:32.587" v="4446" actId="108"/>
          <ac:spMkLst>
            <pc:docMk/>
            <pc:sldMk cId="3626704697" sldId="2381"/>
            <ac:spMk id="2" creationId="{0EDD444B-B38F-B040-ACC4-7AB67940A92B}"/>
          </ac:spMkLst>
        </pc:spChg>
        <pc:spChg chg="mod">
          <ac:chgData name="Aurelien Domont" userId="6da7715ce44349b3" providerId="LiveId" clId="{A31B6E7A-4C8B-4688-A47B-88935FEF0E5E}" dt="2022-08-18T05:37:36.928" v="4447" actId="207"/>
          <ac:spMkLst>
            <pc:docMk/>
            <pc:sldMk cId="3626704697" sldId="2381"/>
            <ac:spMk id="3" creationId="{0DCCF749-4A18-F53A-4A84-293C65B88608}"/>
          </ac:spMkLst>
        </pc:spChg>
        <pc:spChg chg="mod">
          <ac:chgData name="Aurelien Domont" userId="6da7715ce44349b3" providerId="LiveId" clId="{A31B6E7A-4C8B-4688-A47B-88935FEF0E5E}" dt="2022-08-18T23:58:15.380" v="4971"/>
          <ac:spMkLst>
            <pc:docMk/>
            <pc:sldMk cId="3626704697" sldId="2381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37:26.447" v="4445" actId="20577"/>
          <ac:spMkLst>
            <pc:docMk/>
            <pc:sldMk cId="3626704697" sldId="2381"/>
            <ac:spMk id="16" creationId="{6C2BB713-9637-4B9B-938F-E9768876782A}"/>
          </ac:spMkLst>
        </pc:spChg>
      </pc:sldChg>
      <pc:sldChg chg="modSp add mod ord">
        <pc:chgData name="Aurelien Domont" userId="6da7715ce44349b3" providerId="LiveId" clId="{A31B6E7A-4C8B-4688-A47B-88935FEF0E5E}" dt="2022-08-18T23:58:19.446" v="4972"/>
        <pc:sldMkLst>
          <pc:docMk/>
          <pc:sldMk cId="3894940994" sldId="2382"/>
        </pc:sldMkLst>
        <pc:spChg chg="mod">
          <ac:chgData name="Aurelien Domont" userId="6da7715ce44349b3" providerId="LiveId" clId="{A31B6E7A-4C8B-4688-A47B-88935FEF0E5E}" dt="2022-08-18T05:40:32.196" v="4458" actId="108"/>
          <ac:spMkLst>
            <pc:docMk/>
            <pc:sldMk cId="3894940994" sldId="2382"/>
            <ac:spMk id="3" creationId="{0DCCF749-4A18-F53A-4A84-293C65B88608}"/>
          </ac:spMkLst>
        </pc:spChg>
        <pc:spChg chg="mod">
          <ac:chgData name="Aurelien Domont" userId="6da7715ce44349b3" providerId="LiveId" clId="{A31B6E7A-4C8B-4688-A47B-88935FEF0E5E}" dt="2022-08-18T05:40:29.353" v="4457" actId="207"/>
          <ac:spMkLst>
            <pc:docMk/>
            <pc:sldMk cId="3894940994" sldId="2382"/>
            <ac:spMk id="4" creationId="{E9FC7D52-EB41-2BCF-0594-6BC1B81967C5}"/>
          </ac:spMkLst>
        </pc:spChg>
        <pc:spChg chg="mod">
          <ac:chgData name="Aurelien Domont" userId="6da7715ce44349b3" providerId="LiveId" clId="{A31B6E7A-4C8B-4688-A47B-88935FEF0E5E}" dt="2022-08-18T23:58:19.446" v="4972"/>
          <ac:spMkLst>
            <pc:docMk/>
            <pc:sldMk cId="3894940994" sldId="2382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40:23.290" v="4454" actId="20577"/>
          <ac:spMkLst>
            <pc:docMk/>
            <pc:sldMk cId="3894940994" sldId="2382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8-18T05:40:27.539" v="4456" actId="207"/>
          <ac:spMkLst>
            <pc:docMk/>
            <pc:sldMk cId="3894940994" sldId="2382"/>
            <ac:spMk id="20" creationId="{68BB1F62-0EC8-F926-1F7F-4F56C9168092}"/>
          </ac:spMkLst>
        </pc:spChg>
      </pc:sldChg>
      <pc:sldChg chg="modSp add mod">
        <pc:chgData name="Aurelien Domont" userId="6da7715ce44349b3" providerId="LiveId" clId="{A31B6E7A-4C8B-4688-A47B-88935FEF0E5E}" dt="2022-08-18T23:58:43.501" v="4973"/>
        <pc:sldMkLst>
          <pc:docMk/>
          <pc:sldMk cId="3518454664" sldId="2383"/>
        </pc:sldMkLst>
        <pc:spChg chg="mod">
          <ac:chgData name="Aurelien Domont" userId="6da7715ce44349b3" providerId="LiveId" clId="{A31B6E7A-4C8B-4688-A47B-88935FEF0E5E}" dt="2022-08-18T05:42:21.365" v="4470" actId="108"/>
          <ac:spMkLst>
            <pc:docMk/>
            <pc:sldMk cId="3518454664" sldId="2383"/>
            <ac:spMk id="4" creationId="{E9FC7D52-EB41-2BCF-0594-6BC1B81967C5}"/>
          </ac:spMkLst>
        </pc:spChg>
        <pc:spChg chg="mod">
          <ac:chgData name="Aurelien Domont" userId="6da7715ce44349b3" providerId="LiveId" clId="{A31B6E7A-4C8B-4688-A47B-88935FEF0E5E}" dt="2022-08-18T23:58:43.501" v="4973"/>
          <ac:spMkLst>
            <pc:docMk/>
            <pc:sldMk cId="3518454664" sldId="2383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48:32.541" v="4473" actId="20577"/>
          <ac:spMkLst>
            <pc:docMk/>
            <pc:sldMk cId="3518454664" sldId="2383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8-18T05:42:18.740" v="4469" actId="108"/>
          <ac:spMkLst>
            <pc:docMk/>
            <pc:sldMk cId="3518454664" sldId="2383"/>
            <ac:spMk id="20" creationId="{68BB1F62-0EC8-F926-1F7F-4F56C9168092}"/>
          </ac:spMkLst>
        </pc:spChg>
      </pc:sldChg>
      <pc:sldChg chg="add">
        <pc:chgData name="Aurelien Domont" userId="6da7715ce44349b3" providerId="LiveId" clId="{A31B6E7A-4C8B-4688-A47B-88935FEF0E5E}" dt="2022-08-18T07:05:12.147" v="4941"/>
        <pc:sldMkLst>
          <pc:docMk/>
          <pc:sldMk cId="2445504132" sldId="2389"/>
        </pc:sldMkLst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1666700042" sldId="2429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666700042" sldId="2429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666700042" sldId="2429"/>
            <ac:spMk id="14" creationId="{C9800183-F524-4412-AB39-A6E1A21FF0B3}"/>
          </ac:spMkLst>
        </pc:spChg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1322587561" sldId="2430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322587561" sldId="2430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322587561" sldId="2430"/>
            <ac:spMk id="14" creationId="{C9800183-F524-4412-AB39-A6E1A21FF0B3}"/>
          </ac:spMkLst>
        </pc:spChg>
      </pc:sldChg>
      <pc:sldChg chg="modSp add del mod">
        <pc:chgData name="Aurelien Domont" userId="6da7715ce44349b3" providerId="LiveId" clId="{A31B6E7A-4C8B-4688-A47B-88935FEF0E5E}" dt="2022-08-18T06:05:17.063" v="4499" actId="207"/>
        <pc:sldMkLst>
          <pc:docMk/>
          <pc:sldMk cId="2091587220" sldId="2431"/>
        </pc:sldMkLst>
        <pc:spChg chg="mod">
          <ac:chgData name="Aurelien Domont" userId="6da7715ce44349b3" providerId="LiveId" clId="{A31B6E7A-4C8B-4688-A47B-88935FEF0E5E}" dt="2022-08-18T06:05:13.103" v="4498" actId="207"/>
          <ac:spMkLst>
            <pc:docMk/>
            <pc:sldMk cId="2091587220" sldId="2431"/>
            <ac:spMk id="67" creationId="{877C24D3-E244-443B-ADD1-F149BC4EF17D}"/>
          </ac:spMkLst>
        </pc:spChg>
        <pc:spChg chg="mod">
          <ac:chgData name="Aurelien Domont" userId="6da7715ce44349b3" providerId="LiveId" clId="{A31B6E7A-4C8B-4688-A47B-88935FEF0E5E}" dt="2022-08-18T06:05:13.103" v="4498" actId="207"/>
          <ac:spMkLst>
            <pc:docMk/>
            <pc:sldMk cId="2091587220" sldId="2431"/>
            <ac:spMk id="68" creationId="{42820667-DAAC-4A70-9250-1117585891C6}"/>
          </ac:spMkLst>
        </pc:spChg>
        <pc:spChg chg="mod">
          <ac:chgData name="Aurelien Domont" userId="6da7715ce44349b3" providerId="LiveId" clId="{A31B6E7A-4C8B-4688-A47B-88935FEF0E5E}" dt="2022-08-18T06:05:13.103" v="4498" actId="207"/>
          <ac:spMkLst>
            <pc:docMk/>
            <pc:sldMk cId="2091587220" sldId="2431"/>
            <ac:spMk id="69" creationId="{0D324868-D5D6-4C9F-BE7D-A85E42F15790}"/>
          </ac:spMkLst>
        </pc:spChg>
        <pc:spChg chg="mod">
          <ac:chgData name="Aurelien Domont" userId="6da7715ce44349b3" providerId="LiveId" clId="{A31B6E7A-4C8B-4688-A47B-88935FEF0E5E}" dt="2022-08-18T06:05:17.063" v="4499" actId="207"/>
          <ac:spMkLst>
            <pc:docMk/>
            <pc:sldMk cId="2091587220" sldId="2431"/>
            <ac:spMk id="70" creationId="{83C33258-7EA6-44DB-B0A4-CAA652DDE386}"/>
          </ac:spMkLst>
        </pc:spChg>
        <pc:spChg chg="mod">
          <ac:chgData name="Aurelien Domont" userId="6da7715ce44349b3" providerId="LiveId" clId="{A31B6E7A-4C8B-4688-A47B-88935FEF0E5E}" dt="2022-08-18T06:05:17.063" v="4499" actId="207"/>
          <ac:spMkLst>
            <pc:docMk/>
            <pc:sldMk cId="2091587220" sldId="2431"/>
            <ac:spMk id="71" creationId="{EC695439-600D-4DA7-9EA2-10E9E04E1758}"/>
          </ac:spMkLst>
        </pc:spChg>
        <pc:spChg chg="mod">
          <ac:chgData name="Aurelien Domont" userId="6da7715ce44349b3" providerId="LiveId" clId="{A31B6E7A-4C8B-4688-A47B-88935FEF0E5E}" dt="2022-08-18T06:05:17.063" v="4499" actId="207"/>
          <ac:spMkLst>
            <pc:docMk/>
            <pc:sldMk cId="2091587220" sldId="2431"/>
            <ac:spMk id="72" creationId="{90038ADF-5A68-4ECD-8703-D29461F562C0}"/>
          </ac:spMkLst>
        </pc:spChg>
      </pc:sldChg>
      <pc:sldChg chg="modSp add mod">
        <pc:chgData name="Aurelien Domont" userId="6da7715ce44349b3" providerId="LiveId" clId="{A31B6E7A-4C8B-4688-A47B-88935FEF0E5E}" dt="2022-08-18T05:49:52.476" v="4475" actId="20577"/>
        <pc:sldMkLst>
          <pc:docMk/>
          <pc:sldMk cId="1405034369" sldId="2440"/>
        </pc:sldMkLst>
        <pc:spChg chg="mod">
          <ac:chgData name="Aurelien Domont" userId="6da7715ce44349b3" providerId="LiveId" clId="{A31B6E7A-4C8B-4688-A47B-88935FEF0E5E}" dt="2022-08-18T05:49:52.476" v="4475" actId="20577"/>
          <ac:spMkLst>
            <pc:docMk/>
            <pc:sldMk cId="1405034369" sldId="2440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A31B6E7A-4C8B-4688-A47B-88935FEF0E5E}" dt="2022-08-18T23:58:51.111" v="4974"/>
        <pc:sldMkLst>
          <pc:docMk/>
          <pc:sldMk cId="331291724" sldId="2441"/>
        </pc:sldMkLst>
        <pc:spChg chg="mod">
          <ac:chgData name="Aurelien Domont" userId="6da7715ce44349b3" providerId="LiveId" clId="{A31B6E7A-4C8B-4688-A47B-88935FEF0E5E}" dt="2022-08-18T23:58:51.111" v="4974"/>
          <ac:spMkLst>
            <pc:docMk/>
            <pc:sldMk cId="331291724" sldId="2441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50:14.699" v="4477" actId="207"/>
          <ac:spMkLst>
            <pc:docMk/>
            <pc:sldMk cId="331291724" sldId="2441"/>
            <ac:spMk id="7" creationId="{9B4A376D-A915-DAA8-7954-6CF5F42A2D95}"/>
          </ac:spMkLst>
        </pc:spChg>
        <pc:spChg chg="mod">
          <ac:chgData name="Aurelien Domont" userId="6da7715ce44349b3" providerId="LiveId" clId="{A31B6E7A-4C8B-4688-A47B-88935FEF0E5E}" dt="2022-08-18T05:50:19.496" v="4479" actId="6549"/>
          <ac:spMkLst>
            <pc:docMk/>
            <pc:sldMk cId="331291724" sldId="2441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8-18T05:50:18.042" v="4478" actId="108"/>
          <ac:spMkLst>
            <pc:docMk/>
            <pc:sldMk cId="331291724" sldId="2441"/>
            <ac:spMk id="20" creationId="{68BB1F62-0EC8-F926-1F7F-4F56C9168092}"/>
          </ac:spMkLst>
        </pc:spChg>
      </pc:sldChg>
      <pc:sldChg chg="modSp add mod">
        <pc:chgData name="Aurelien Domont" userId="6da7715ce44349b3" providerId="LiveId" clId="{A31B6E7A-4C8B-4688-A47B-88935FEF0E5E}" dt="2022-08-18T23:58:55.643" v="4975"/>
        <pc:sldMkLst>
          <pc:docMk/>
          <pc:sldMk cId="1716259302" sldId="2442"/>
        </pc:sldMkLst>
        <pc:spChg chg="mod">
          <ac:chgData name="Aurelien Domont" userId="6da7715ce44349b3" providerId="LiveId" clId="{A31B6E7A-4C8B-4688-A47B-88935FEF0E5E}" dt="2022-08-18T23:58:55.643" v="4975"/>
          <ac:spMkLst>
            <pc:docMk/>
            <pc:sldMk cId="1716259302" sldId="2442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50:36.323" v="4484" actId="207"/>
          <ac:spMkLst>
            <pc:docMk/>
            <pc:sldMk cId="1716259302" sldId="2442"/>
            <ac:spMk id="7" creationId="{9B4A376D-A915-DAA8-7954-6CF5F42A2D95}"/>
          </ac:spMkLst>
        </pc:spChg>
        <pc:spChg chg="mod">
          <ac:chgData name="Aurelien Domont" userId="6da7715ce44349b3" providerId="LiveId" clId="{A31B6E7A-4C8B-4688-A47B-88935FEF0E5E}" dt="2022-08-18T05:50:29.522" v="4481" actId="207"/>
          <ac:spMkLst>
            <pc:docMk/>
            <pc:sldMk cId="1716259302" sldId="2442"/>
            <ac:spMk id="8" creationId="{AC877F16-FA20-5F94-EAA8-4B77C95876B9}"/>
          </ac:spMkLst>
        </pc:spChg>
        <pc:spChg chg="mod">
          <ac:chgData name="Aurelien Domont" userId="6da7715ce44349b3" providerId="LiveId" clId="{A31B6E7A-4C8B-4688-A47B-88935FEF0E5E}" dt="2022-08-18T05:50:44.328" v="4485" actId="20577"/>
          <ac:spMkLst>
            <pc:docMk/>
            <pc:sldMk cId="1716259302" sldId="2442"/>
            <ac:spMk id="16" creationId="{6C2BB713-9637-4B9B-938F-E9768876782A}"/>
          </ac:spMkLst>
        </pc:spChg>
      </pc:sldChg>
      <pc:sldChg chg="delSp modSp add mod">
        <pc:chgData name="Aurelien Domont" userId="6da7715ce44349b3" providerId="LiveId" clId="{A31B6E7A-4C8B-4688-A47B-88935FEF0E5E}" dt="2022-08-18T06:04:57.883" v="4497"/>
        <pc:sldMkLst>
          <pc:docMk/>
          <pc:sldMk cId="1920409791" sldId="2443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920409791" sldId="2443"/>
            <ac:spMk id="2" creationId="{A67BEC9B-911F-478E-9C56-72957F18467D}"/>
          </ac:spMkLst>
        </pc:spChg>
        <pc:spChg chg="del">
          <ac:chgData name="Aurelien Domont" userId="6da7715ce44349b3" providerId="LiveId" clId="{A31B6E7A-4C8B-4688-A47B-88935FEF0E5E}" dt="2022-08-18T06:03:22.756" v="4492" actId="478"/>
          <ac:spMkLst>
            <pc:docMk/>
            <pc:sldMk cId="1920409791" sldId="2443"/>
            <ac:spMk id="3" creationId="{3536A2AF-8F05-4BC6-D5BC-A543DD15CC00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920409791" sldId="2443"/>
            <ac:spMk id="14" creationId="{C9800183-F524-4412-AB39-A6E1A21FF0B3}"/>
          </ac:spMkLst>
        </pc:spChg>
      </pc:sldChg>
      <pc:sldChg chg="addSp modSp add del mod">
        <pc:chgData name="Aurelien Domont" userId="6da7715ce44349b3" providerId="LiveId" clId="{A31B6E7A-4C8B-4688-A47B-88935FEF0E5E}" dt="2022-08-19T00:31:53.921" v="5009" actId="47"/>
        <pc:sldMkLst>
          <pc:docMk/>
          <pc:sldMk cId="3214438362" sldId="2444"/>
        </pc:sldMkLst>
        <pc:spChg chg="add mod">
          <ac:chgData name="Aurelien Domont" userId="6da7715ce44349b3" providerId="LiveId" clId="{A31B6E7A-4C8B-4688-A47B-88935FEF0E5E}" dt="2022-08-19T00:26:29.107" v="5004" actId="1076"/>
          <ac:spMkLst>
            <pc:docMk/>
            <pc:sldMk cId="3214438362" sldId="2444"/>
            <ac:spMk id="2" creationId="{B8F4156E-C78B-1D19-86BC-3BCDEAE3B252}"/>
          </ac:spMkLst>
        </pc:spChg>
        <pc:spChg chg="mod">
          <ac:chgData name="Aurelien Domont" userId="6da7715ce44349b3" providerId="LiveId" clId="{A31B6E7A-4C8B-4688-A47B-88935FEF0E5E}" dt="2022-08-19T00:26:34.993" v="5008" actId="20577"/>
          <ac:spMkLst>
            <pc:docMk/>
            <pc:sldMk cId="3214438362" sldId="2444"/>
            <ac:spMk id="7" creationId="{F79D136A-64A2-4C49-9EE6-43915E022B73}"/>
          </ac:spMkLst>
        </pc:spChg>
      </pc:sldChg>
      <pc:sldChg chg="addSp modSp add del mod">
        <pc:chgData name="Aurelien Domont" userId="6da7715ce44349b3" providerId="LiveId" clId="{A31B6E7A-4C8B-4688-A47B-88935FEF0E5E}" dt="2022-08-31T06:02:11.747" v="5014" actId="47"/>
        <pc:sldMkLst>
          <pc:docMk/>
          <pc:sldMk cId="3414420693" sldId="2444"/>
        </pc:sldMkLst>
        <pc:spChg chg="add mod">
          <ac:chgData name="Aurelien Domont" userId="6da7715ce44349b3" providerId="LiveId" clId="{A31B6E7A-4C8B-4688-A47B-88935FEF0E5E}" dt="2022-08-31T05:33:31.809" v="5012" actId="207"/>
          <ac:spMkLst>
            <pc:docMk/>
            <pc:sldMk cId="3414420693" sldId="2444"/>
            <ac:spMk id="2" creationId="{BC0B560D-8FFE-12C7-628C-A54C529941E2}"/>
          </ac:spMkLst>
        </pc:spChg>
        <pc:spChg chg="mod">
          <ac:chgData name="Aurelien Domont" userId="6da7715ce44349b3" providerId="LiveId" clId="{A31B6E7A-4C8B-4688-A47B-88935FEF0E5E}" dt="2022-08-31T05:33:38.123" v="5013" actId="12"/>
          <ac:spMkLst>
            <pc:docMk/>
            <pc:sldMk cId="3414420693" sldId="2444"/>
            <ac:spMk id="7" creationId="{F79D136A-64A2-4C49-9EE6-43915E022B73}"/>
          </ac:spMkLst>
        </pc:spChg>
      </pc:sldChg>
      <pc:sldMasterChg chg="addSp modSldLayout">
        <pc:chgData name="Aurelien Domont" userId="6da7715ce44349b3" providerId="LiveId" clId="{A31B6E7A-4C8B-4688-A47B-88935FEF0E5E}" dt="2022-08-18T05:35:33.448" v="4440"/>
        <pc:sldMasterMkLst>
          <pc:docMk/>
          <pc:sldMasterMk cId="2575414565" sldId="2147483749"/>
        </pc:sldMasterMkLst>
        <pc:spChg chg="add">
          <ac:chgData name="Aurelien Domont" userId="6da7715ce44349b3" providerId="LiveId" clId="{A31B6E7A-4C8B-4688-A47B-88935FEF0E5E}" dt="2022-08-18T05:35:33.448" v="4440"/>
          <ac:spMkLst>
            <pc:docMk/>
            <pc:sldMasterMk cId="2575414565" sldId="2147483749"/>
            <ac:spMk id="10" creationId="{C8ED2365-AFAB-C9F2-DCFF-4D53E9A2AB7B}"/>
          </ac:spMkLst>
        </pc:spChg>
        <pc:spChg chg="add">
          <ac:chgData name="Aurelien Domont" userId="6da7715ce44349b3" providerId="LiveId" clId="{A31B6E7A-4C8B-4688-A47B-88935FEF0E5E}" dt="2022-08-18T05:35:33.448" v="4440"/>
          <ac:spMkLst>
            <pc:docMk/>
            <pc:sldMasterMk cId="2575414565" sldId="2147483749"/>
            <ac:spMk id="11" creationId="{1ED376EA-FD18-C7CA-D2E1-85C0544DC6C7}"/>
          </ac:spMkLst>
        </pc:spChg>
        <pc:graphicFrameChg chg="add">
          <ac:chgData name="Aurelien Domont" userId="6da7715ce44349b3" providerId="LiveId" clId="{A31B6E7A-4C8B-4688-A47B-88935FEF0E5E}" dt="2022-08-18T05:35:33.448" v="4440"/>
          <ac:graphicFrameMkLst>
            <pc:docMk/>
            <pc:sldMasterMk cId="2575414565" sldId="2147483749"/>
            <ac:graphicFrameMk id="4" creationId="{D1953358-813A-593B-2528-2409E34AE767}"/>
          </ac:graphicFrameMkLst>
        </pc:graphicFrameChg>
        <pc:cxnChg chg="add">
          <ac:chgData name="Aurelien Domont" userId="6da7715ce44349b3" providerId="LiveId" clId="{A31B6E7A-4C8B-4688-A47B-88935FEF0E5E}" dt="2022-08-18T05:35:33.448" v="4440"/>
          <ac:cxnSpMkLst>
            <pc:docMk/>
            <pc:sldMasterMk cId="2575414565" sldId="2147483749"/>
            <ac:cxnSpMk id="12" creationId="{C2F4EDA9-8159-97DB-3109-463D9F095771}"/>
          </ac:cxnSpMkLst>
        </pc:cxn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3357891029" sldId="2147483750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357891029" sldId="2147483750"/>
              <ac:spMk id="9" creationId="{4475779A-962A-E228-F93E-4A4247C47617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357891029" sldId="2147483750"/>
              <ac:spMk id="10" creationId="{06A4D443-9F9D-7008-5CEF-4894FC89F6AF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3357891029" sldId="2147483750"/>
              <ac:graphicFrameMk id="8" creationId="{8FB21B5B-78B4-9C91-CBC9-1198D4A2C864}"/>
            </ac:graphicFrameMkLst>
          </pc:graphicFrame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72016079" sldId="2147483751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72016079" sldId="2147483751"/>
              <ac:spMk id="5" creationId="{D7C6F2FA-7269-007A-67CB-49AA088A6FC3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72016079" sldId="2147483751"/>
              <ac:spMk id="6" creationId="{FF20352E-B316-465B-4B91-8BB4D0D142FC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72016079" sldId="2147483751"/>
              <ac:graphicFrameMk id="4" creationId="{4EF2EAAB-B1DD-A9F3-3D46-1CD4347499D3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72016079" sldId="2147483751"/>
              <ac:cxnSpMk id="10" creationId="{AA40DD4E-4102-9428-D366-F1F090AA124C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1834585294" sldId="2147483752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1834585294" sldId="2147483752"/>
              <ac:spMk id="6" creationId="{9A6D3DEE-F421-D425-CBF8-15AC893641EF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1834585294" sldId="2147483752"/>
              <ac:spMk id="11" creationId="{26FDEF92-9FF4-07C7-E98E-38481AC0BA06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1834585294" sldId="2147483752"/>
              <ac:graphicFrameMk id="2" creationId="{66202B8E-5051-6FE4-69F1-731FA01FBDBD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1834585294" sldId="2147483752"/>
              <ac:cxnSpMk id="12" creationId="{4AB18DA9-22E5-44CB-F763-2D44FD22643B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2814292884" sldId="2147483753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2814292884" sldId="2147483753"/>
              <ac:spMk id="6" creationId="{BB3B7CC1-CEF0-2172-3495-F868FEC95EE8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2814292884" sldId="2147483753"/>
              <ac:spMk id="11" creationId="{EDE0098D-322E-4B3C-FEC6-E4649B0EB38F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2814292884" sldId="2147483753"/>
              <ac:graphicFrameMk id="5" creationId="{4D3BE7BD-6225-FBB7-7A12-B54BC13DFA3D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2814292884" sldId="2147483753"/>
              <ac:cxnSpMk id="13" creationId="{F889B47B-D586-14D4-F656-A34FA9E273AF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3013305527" sldId="2147483754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013305527" sldId="2147483754"/>
              <ac:spMk id="6" creationId="{0EF72ABD-43CE-65A7-1DE2-E0D797091C3F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013305527" sldId="2147483754"/>
              <ac:spMk id="10" creationId="{1945F568-35F6-4476-CA32-7C14652E50EA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013305527" sldId="2147483754"/>
              <ac:spMk id="17" creationId="{B7CD0088-1137-0023-1FCB-44C3930A1B4E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3013305527" sldId="2147483754"/>
              <ac:graphicFrameMk id="5" creationId="{5064F8BD-60BA-960D-2923-1A4BFAE5C456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3013305527" sldId="2147483754"/>
              <ac:cxnSpMk id="16" creationId="{4EEFE04A-2EF3-08DF-CD6E-404CF368E99F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1312713683" sldId="2147483755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1312713683" sldId="2147483755"/>
              <ac:spMk id="5" creationId="{363B3901-8C48-D99D-BBB9-1F13DC98817C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1312713683" sldId="2147483755"/>
              <ac:graphicFrameMk id="4" creationId="{ECBA9B7B-EC7B-1205-7202-C61514B55C9A}"/>
            </ac:graphicFrameMkLst>
          </pc:graphicFrame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3396843494" sldId="2147483756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396843494" sldId="2147483756"/>
              <ac:spMk id="5" creationId="{0A50C0FB-92DE-E665-0123-D8B10B54F4DD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3396843494" sldId="2147483756"/>
              <ac:graphicFrameMk id="4" creationId="{4543E712-CCEB-ADC5-40A2-1E0B6BC20304}"/>
            </ac:graphicFrameMkLst>
          </pc:graphicFrameChg>
        </pc:sldLayoutChg>
      </pc:sldMasterChg>
    </pc:docChg>
  </pc:docChgLst>
  <pc:docChgLst>
    <pc:chgData name="Aurelien Domont" userId="6da7715ce44349b3" providerId="LiveId" clId="{C07E2EBA-75E5-46FC-801F-7BF5FEE4CB57}"/>
    <pc:docChg chg="modSld">
      <pc:chgData name="Aurelien Domont" userId="6da7715ce44349b3" providerId="LiveId" clId="{C07E2EBA-75E5-46FC-801F-7BF5FEE4CB57}" dt="2021-06-30T05:48:57.645" v="8" actId="113"/>
      <pc:docMkLst>
        <pc:docMk/>
      </pc:docMkLst>
      <pc:sldChg chg="modSp mod">
        <pc:chgData name="Aurelien Domont" userId="6da7715ce44349b3" providerId="LiveId" clId="{C07E2EBA-75E5-46FC-801F-7BF5FEE4CB57}" dt="2021-06-30T05:48:57.645" v="8" actId="113"/>
        <pc:sldMkLst>
          <pc:docMk/>
          <pc:sldMk cId="3131901387" sldId="256"/>
        </pc:sldMkLst>
        <pc:spChg chg="mod">
          <ac:chgData name="Aurelien Domont" userId="6da7715ce44349b3" providerId="LiveId" clId="{C07E2EBA-75E5-46FC-801F-7BF5FEE4CB57}" dt="2021-06-30T05:48:57.645" v="8" actId="113"/>
          <ac:spMkLst>
            <pc:docMk/>
            <pc:sldMk cId="3131901387" sldId="256"/>
            <ac:spMk id="2" creationId="{5261080C-C60C-4746-B6B1-A9A4FFA86785}"/>
          </ac:spMkLst>
        </pc:spChg>
      </pc:sldChg>
    </pc:docChg>
  </pc:docChgLst>
  <pc:docChgLst>
    <pc:chgData name="Aurelien Domont" userId="6da7715ce44349b3" providerId="LiveId" clId="{F9AF741E-DE7A-4F9A-A341-EC6A7AC07D1A}"/>
    <pc:docChg chg="custSel modSld">
      <pc:chgData name="Aurelien Domont" userId="6da7715ce44349b3" providerId="LiveId" clId="{F9AF741E-DE7A-4F9A-A341-EC6A7AC07D1A}" dt="2022-10-20T02:57:06.236" v="10"/>
      <pc:docMkLst>
        <pc:docMk/>
      </pc:docMkLst>
      <pc:sldChg chg="addSp delSp modSp mod">
        <pc:chgData name="Aurelien Domont" userId="6da7715ce44349b3" providerId="LiveId" clId="{F9AF741E-DE7A-4F9A-A341-EC6A7AC07D1A}" dt="2022-10-20T02:57:06.236" v="10"/>
        <pc:sldMkLst>
          <pc:docMk/>
          <pc:sldMk cId="3615428360" sldId="2196"/>
        </pc:sldMkLst>
        <pc:spChg chg="mod">
          <ac:chgData name="Aurelien Domont" userId="6da7715ce44349b3" providerId="LiveId" clId="{F9AF741E-DE7A-4F9A-A341-EC6A7AC07D1A}" dt="2022-10-20T02:56:58.434" v="9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F9AF741E-DE7A-4F9A-A341-EC6A7AC07D1A}" dt="2022-10-20T02:55:58.658" v="1" actId="20577"/>
          <ac:spMkLst>
            <pc:docMk/>
            <pc:sldMk cId="3615428360" sldId="2196"/>
            <ac:spMk id="16" creationId="{6C2BB713-9637-4B9B-938F-E9768876782A}"/>
          </ac:spMkLst>
        </pc:spChg>
        <pc:picChg chg="del">
          <ac:chgData name="Aurelien Domont" userId="6da7715ce44349b3" providerId="LiveId" clId="{F9AF741E-DE7A-4F9A-A341-EC6A7AC07D1A}" dt="2022-10-20T02:56:32.582" v="2" actId="478"/>
          <ac:picMkLst>
            <pc:docMk/>
            <pc:sldMk cId="3615428360" sldId="2196"/>
            <ac:picMk id="3" creationId="{4C7F04DA-2490-6759-18C8-DB838774D30D}"/>
          </ac:picMkLst>
        </pc:picChg>
        <pc:picChg chg="add mod">
          <ac:chgData name="Aurelien Domont" userId="6da7715ce44349b3" providerId="LiveId" clId="{F9AF741E-DE7A-4F9A-A341-EC6A7AC07D1A}" dt="2022-10-20T02:57:06.236" v="10"/>
          <ac:picMkLst>
            <pc:docMk/>
            <pc:sldMk cId="3615428360" sldId="2196"/>
            <ac:picMk id="4" creationId="{971E28F8-6FE7-9796-82F9-181468BD12E0}"/>
          </ac:picMkLst>
        </pc:picChg>
      </pc:sldChg>
    </pc:docChg>
  </pc:docChgLst>
  <pc:docChgLst>
    <pc:chgData name="Aurelien Domont" userId="6da7715ce44349b3" providerId="LiveId" clId="{B7873C68-9BFD-4325-B07C-6245C360A5D1}"/>
    <pc:docChg chg="undo custSel addSld delSld modSld">
      <pc:chgData name="Aurelien Domont" userId="6da7715ce44349b3" providerId="LiveId" clId="{B7873C68-9BFD-4325-B07C-6245C360A5D1}" dt="2021-05-14T05:06:22.597" v="290" actId="47"/>
      <pc:docMkLst>
        <pc:docMk/>
      </pc:docMkLst>
      <pc:sldChg chg="modSp mod">
        <pc:chgData name="Aurelien Domont" userId="6da7715ce44349b3" providerId="LiveId" clId="{B7873C68-9BFD-4325-B07C-6245C360A5D1}" dt="2021-05-13T04:53:43.632" v="10"/>
        <pc:sldMkLst>
          <pc:docMk/>
          <pc:sldMk cId="1659127470" sldId="1924"/>
        </pc:sldMkLst>
        <pc:spChg chg="mod">
          <ac:chgData name="Aurelien Domont" userId="6da7715ce44349b3" providerId="LiveId" clId="{B7873C68-9BFD-4325-B07C-6245C360A5D1}" dt="2021-05-13T04:53:43.632" v="10"/>
          <ac:spMkLst>
            <pc:docMk/>
            <pc:sldMk cId="1659127470" sldId="1924"/>
            <ac:spMk id="24" creationId="{95714746-22CF-48C5-AD51-9D9AE6E5F2C8}"/>
          </ac:spMkLst>
        </pc:spChg>
      </pc:sldChg>
      <pc:sldChg chg="addSp modSp add del mod">
        <pc:chgData name="Aurelien Domont" userId="6da7715ce44349b3" providerId="LiveId" clId="{B7873C68-9BFD-4325-B07C-6245C360A5D1}" dt="2021-05-13T05:03:35.272" v="16" actId="47"/>
        <pc:sldMkLst>
          <pc:docMk/>
          <pc:sldMk cId="1714784991" sldId="2150"/>
        </pc:sldMkLst>
        <pc:spChg chg="add mod">
          <ac:chgData name="Aurelien Domont" userId="6da7715ce44349b3" providerId="LiveId" clId="{B7873C68-9BFD-4325-B07C-6245C360A5D1}" dt="2021-05-13T05:01:35.252" v="13" actId="207"/>
          <ac:spMkLst>
            <pc:docMk/>
            <pc:sldMk cId="1714784991" sldId="2150"/>
            <ac:spMk id="2" creationId="{4ED3F7DF-E9A5-480E-8B93-7A2E00451A92}"/>
          </ac:spMkLst>
        </pc:spChg>
        <pc:spChg chg="mod">
          <ac:chgData name="Aurelien Domont" userId="6da7715ce44349b3" providerId="LiveId" clId="{B7873C68-9BFD-4325-B07C-6245C360A5D1}" dt="2021-05-13T05:01:39.975" v="14" actId="12"/>
          <ac:spMkLst>
            <pc:docMk/>
            <pc:sldMk cId="1714784991" sldId="2150"/>
            <ac:spMk id="24" creationId="{95714746-22CF-48C5-AD51-9D9AE6E5F2C8}"/>
          </ac:spMkLst>
        </pc:spChg>
        <pc:spChg chg="mod">
          <ac:chgData name="Aurelien Domont" userId="6da7715ce44349b3" providerId="LiveId" clId="{B7873C68-9BFD-4325-B07C-6245C360A5D1}" dt="2021-05-13T05:02:40.900" v="15" actId="12"/>
          <ac:spMkLst>
            <pc:docMk/>
            <pc:sldMk cId="1714784991" sldId="2150"/>
            <ac:spMk id="25" creationId="{0B462317-12E0-4745-AFEC-1DF156C5EB17}"/>
          </ac:spMkLst>
        </pc:spChg>
      </pc:sldChg>
      <pc:sldChg chg="addSp delSp modSp new del mod">
        <pc:chgData name="Aurelien Domont" userId="6da7715ce44349b3" providerId="LiveId" clId="{B7873C68-9BFD-4325-B07C-6245C360A5D1}" dt="2021-05-14T05:06:22.597" v="290" actId="47"/>
        <pc:sldMkLst>
          <pc:docMk/>
          <pc:sldMk cId="4189768353" sldId="2150"/>
        </pc:sldMkLst>
        <pc:spChg chg="add mod">
          <ac:chgData name="Aurelien Domont" userId="6da7715ce44349b3" providerId="LiveId" clId="{B7873C68-9BFD-4325-B07C-6245C360A5D1}" dt="2021-05-13T07:35:33.014" v="224" actId="1076"/>
          <ac:spMkLst>
            <pc:docMk/>
            <pc:sldMk cId="4189768353" sldId="2150"/>
            <ac:spMk id="2" creationId="{E3244593-14AB-40F1-96D0-787E5C3BCF8E}"/>
          </ac:spMkLst>
        </pc:spChg>
        <pc:spChg chg="add del mod">
          <ac:chgData name="Aurelien Domont" userId="6da7715ce44349b3" providerId="LiveId" clId="{B7873C68-9BFD-4325-B07C-6245C360A5D1}" dt="2021-05-13T07:35:25.705" v="221" actId="478"/>
          <ac:spMkLst>
            <pc:docMk/>
            <pc:sldMk cId="4189768353" sldId="2150"/>
            <ac:spMk id="3" creationId="{783D8380-074E-4646-B2C9-4DF149192EB7}"/>
          </ac:spMkLst>
        </pc:spChg>
        <pc:spChg chg="add mod">
          <ac:chgData name="Aurelien Domont" userId="6da7715ce44349b3" providerId="LiveId" clId="{B7873C68-9BFD-4325-B07C-6245C360A5D1}" dt="2021-05-13T07:27:51.866" v="173" actId="20577"/>
          <ac:spMkLst>
            <pc:docMk/>
            <pc:sldMk cId="4189768353" sldId="2150"/>
            <ac:spMk id="4" creationId="{F110EECC-B326-47A3-AE11-DA5B5E4C1A62}"/>
          </ac:spMkLst>
        </pc:spChg>
        <pc:spChg chg="add mod">
          <ac:chgData name="Aurelien Domont" userId="6da7715ce44349b3" providerId="LiveId" clId="{B7873C68-9BFD-4325-B07C-6245C360A5D1}" dt="2021-05-13T07:31:32.283" v="217" actId="1076"/>
          <ac:spMkLst>
            <pc:docMk/>
            <pc:sldMk cId="4189768353" sldId="2150"/>
            <ac:spMk id="5" creationId="{2AAE4184-AECD-472D-8BBB-313C21CE89A3}"/>
          </ac:spMkLst>
        </pc:spChg>
        <pc:spChg chg="add del mod">
          <ac:chgData name="Aurelien Domont" userId="6da7715ce44349b3" providerId="LiveId" clId="{B7873C68-9BFD-4325-B07C-6245C360A5D1}" dt="2021-05-13T07:31:13.431" v="215"/>
          <ac:spMkLst>
            <pc:docMk/>
            <pc:sldMk cId="4189768353" sldId="2150"/>
            <ac:spMk id="6" creationId="{8F2034A6-4FFF-43EE-B4C4-2017C44071DF}"/>
          </ac:spMkLst>
        </pc:spChg>
        <pc:spChg chg="add mod">
          <ac:chgData name="Aurelien Domont" userId="6da7715ce44349b3" providerId="LiveId" clId="{B7873C68-9BFD-4325-B07C-6245C360A5D1}" dt="2021-05-13T07:33:22.024" v="219"/>
          <ac:spMkLst>
            <pc:docMk/>
            <pc:sldMk cId="4189768353" sldId="2150"/>
            <ac:spMk id="7" creationId="{59C734AD-4E2E-49E4-83D5-6C2C3CFF194B}"/>
          </ac:spMkLst>
        </pc:spChg>
        <pc:spChg chg="add mod">
          <ac:chgData name="Aurelien Domont" userId="6da7715ce44349b3" providerId="LiveId" clId="{B7873C68-9BFD-4325-B07C-6245C360A5D1}" dt="2021-05-13T07:36:54.598" v="289" actId="20577"/>
          <ac:spMkLst>
            <pc:docMk/>
            <pc:sldMk cId="4189768353" sldId="2150"/>
            <ac:spMk id="8" creationId="{DC5DA6E5-FEA6-4AB5-9996-63EBED53B952}"/>
          </ac:spMkLst>
        </pc:spChg>
      </pc:sldChg>
      <pc:sldMasterChg chg="delSldLayout">
        <pc:chgData name="Aurelien Domont" userId="6da7715ce44349b3" providerId="LiveId" clId="{B7873C68-9BFD-4325-B07C-6245C360A5D1}" dt="2021-05-14T05:06:22.597" v="290" actId="47"/>
        <pc:sldMasterMkLst>
          <pc:docMk/>
          <pc:sldMasterMk cId="630589790" sldId="2147483664"/>
        </pc:sldMasterMkLst>
        <pc:sldLayoutChg chg="del">
          <pc:chgData name="Aurelien Domont" userId="6da7715ce44349b3" providerId="LiveId" clId="{B7873C68-9BFD-4325-B07C-6245C360A5D1}" dt="2021-05-14T05:06:22.597" v="290" actId="47"/>
          <pc:sldLayoutMkLst>
            <pc:docMk/>
            <pc:sldMasterMk cId="630589790" sldId="2147483664"/>
            <pc:sldLayoutMk cId="479443308" sldId="2147483673"/>
          </pc:sldLayoutMkLst>
        </pc:sldLayoutChg>
      </pc:sldMasterChg>
    </pc:docChg>
  </pc:docChgLst>
  <pc:docChgLst>
    <pc:chgData name="Aurelien Domont" userId="6da7715ce44349b3" providerId="LiveId" clId="{3120ADC0-11CA-4D44-8C30-0625BC2FF170}"/>
    <pc:docChg chg="custSel modSld">
      <pc:chgData name="Aurelien Domont" userId="6da7715ce44349b3" providerId="LiveId" clId="{3120ADC0-11CA-4D44-8C30-0625BC2FF170}" dt="2021-04-30T01:16:47.575" v="287" actId="20577"/>
      <pc:docMkLst>
        <pc:docMk/>
      </pc:docMkLst>
      <pc:sldChg chg="addSp modSp mod">
        <pc:chgData name="Aurelien Domont" userId="6da7715ce44349b3" providerId="LiveId" clId="{3120ADC0-11CA-4D44-8C30-0625BC2FF170}" dt="2021-04-30T01:16:47.575" v="287" actId="20577"/>
        <pc:sldMkLst>
          <pc:docMk/>
          <pc:sldMk cId="1659127470" sldId="1924"/>
        </pc:sldMkLst>
        <pc:spChg chg="add mod">
          <ac:chgData name="Aurelien Domont" userId="6da7715ce44349b3" providerId="LiveId" clId="{3120ADC0-11CA-4D44-8C30-0625BC2FF170}" dt="2021-04-29T07:05:48.694" v="122" actId="207"/>
          <ac:spMkLst>
            <pc:docMk/>
            <pc:sldMk cId="1659127470" sldId="1924"/>
            <ac:spMk id="2" creationId="{47EAB931-197A-40BB-B426-D6D65C61BAA2}"/>
          </ac:spMkLst>
        </pc:spChg>
        <pc:spChg chg="mod">
          <ac:chgData name="Aurelien Domont" userId="6da7715ce44349b3" providerId="LiveId" clId="{3120ADC0-11CA-4D44-8C30-0625BC2FF170}" dt="2021-04-30T01:05:37.562" v="174" actId="20577"/>
          <ac:spMkLst>
            <pc:docMk/>
            <pc:sldMk cId="1659127470" sldId="1924"/>
            <ac:spMk id="14" creationId="{493F826D-CCF6-440C-BFA4-C3799A3ED755}"/>
          </ac:spMkLst>
        </pc:spChg>
        <pc:spChg chg="mod">
          <ac:chgData name="Aurelien Domont" userId="6da7715ce44349b3" providerId="LiveId" clId="{3120ADC0-11CA-4D44-8C30-0625BC2FF170}" dt="2021-04-30T01:06:05.905" v="187" actId="20577"/>
          <ac:spMkLst>
            <pc:docMk/>
            <pc:sldMk cId="1659127470" sldId="1924"/>
            <ac:spMk id="18" creationId="{0BCD4164-FFCE-447D-8269-E5891A7FEF0D}"/>
          </ac:spMkLst>
        </pc:spChg>
        <pc:spChg chg="mod">
          <ac:chgData name="Aurelien Domont" userId="6da7715ce44349b3" providerId="LiveId" clId="{3120ADC0-11CA-4D44-8C30-0625BC2FF170}" dt="2021-04-30T01:06:53.718" v="227" actId="20577"/>
          <ac:spMkLst>
            <pc:docMk/>
            <pc:sldMk cId="1659127470" sldId="1924"/>
            <ac:spMk id="19" creationId="{554EE1B4-E11D-4B37-9F78-B5B5FA8738AA}"/>
          </ac:spMkLst>
        </pc:spChg>
        <pc:spChg chg="mod">
          <ac:chgData name="Aurelien Domont" userId="6da7715ce44349b3" providerId="LiveId" clId="{3120ADC0-11CA-4D44-8C30-0625BC2FF170}" dt="2021-04-30T01:15:47.976" v="276" actId="20577"/>
          <ac:spMkLst>
            <pc:docMk/>
            <pc:sldMk cId="1659127470" sldId="1924"/>
            <ac:spMk id="34" creationId="{E2BDE0B8-90AF-4DE7-A71B-FE78ADE30B55}"/>
          </ac:spMkLst>
        </pc:spChg>
        <pc:spChg chg="mod">
          <ac:chgData name="Aurelien Domont" userId="6da7715ce44349b3" providerId="LiveId" clId="{3120ADC0-11CA-4D44-8C30-0625BC2FF170}" dt="2021-04-30T01:03:33.767" v="141" actId="20577"/>
          <ac:spMkLst>
            <pc:docMk/>
            <pc:sldMk cId="1659127470" sldId="1924"/>
            <ac:spMk id="35" creationId="{1BC3B263-81C3-42AD-96C7-45AB7FFD0557}"/>
          </ac:spMkLst>
        </pc:spChg>
        <pc:spChg chg="mod">
          <ac:chgData name="Aurelien Domont" userId="6da7715ce44349b3" providerId="LiveId" clId="{3120ADC0-11CA-4D44-8C30-0625BC2FF170}" dt="2021-04-30T01:16:47.575" v="287" actId="20577"/>
          <ac:spMkLst>
            <pc:docMk/>
            <pc:sldMk cId="1659127470" sldId="1924"/>
            <ac:spMk id="36" creationId="{DEACEA99-9E9A-408A-9277-86EFC1C60A69}"/>
          </ac:spMkLst>
        </pc:spChg>
      </pc:sldChg>
    </pc:docChg>
  </pc:docChgLst>
  <pc:docChgLst>
    <pc:chgData name="Aurelien Domont" userId="6da7715ce44349b3" providerId="LiveId" clId="{F7A6299E-0392-4EC9-9A0F-08BE326868FD}"/>
    <pc:docChg chg="modSld">
      <pc:chgData name="Aurelien Domont" userId="6da7715ce44349b3" providerId="LiveId" clId="{F7A6299E-0392-4EC9-9A0F-08BE326868FD}" dt="2022-10-20T02:49:38.556" v="22" actId="20577"/>
      <pc:docMkLst>
        <pc:docMk/>
      </pc:docMkLst>
      <pc:sldChg chg="modSp mod">
        <pc:chgData name="Aurelien Domont" userId="6da7715ce44349b3" providerId="LiveId" clId="{F7A6299E-0392-4EC9-9A0F-08BE326868FD}" dt="2022-10-20T02:49:38.556" v="22" actId="20577"/>
        <pc:sldMkLst>
          <pc:docMk/>
          <pc:sldMk cId="3615428360" sldId="2196"/>
        </pc:sldMkLst>
        <pc:spChg chg="mod">
          <ac:chgData name="Aurelien Domont" userId="6da7715ce44349b3" providerId="LiveId" clId="{F7A6299E-0392-4EC9-9A0F-08BE326868FD}" dt="2022-10-20T02:49:19.184" v="0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F7A6299E-0392-4EC9-9A0F-08BE326868FD}" dt="2022-10-20T02:49:38.556" v="22" actId="20577"/>
          <ac:spMkLst>
            <pc:docMk/>
            <pc:sldMk cId="3615428360" sldId="2196"/>
            <ac:spMk id="16" creationId="{6C2BB713-9637-4B9B-938F-E9768876782A}"/>
          </ac:spMkLst>
        </pc:spChg>
        <pc:picChg chg="mod">
          <ac:chgData name="Aurelien Domont" userId="6da7715ce44349b3" providerId="LiveId" clId="{F7A6299E-0392-4EC9-9A0F-08BE326868FD}" dt="2022-10-20T02:49:26.434" v="1"/>
          <ac:picMkLst>
            <pc:docMk/>
            <pc:sldMk cId="3615428360" sldId="2196"/>
            <ac:picMk id="10" creationId="{ACAF5940-CF8F-C069-6103-8D28CAAF05A0}"/>
          </ac:picMkLst>
        </pc:picChg>
      </pc:sldChg>
    </pc:docChg>
  </pc:docChgLst>
  <pc:docChgLst>
    <pc:chgData name="Aurelien Domont" userId="6da7715ce44349b3" providerId="LiveId" clId="{AFF9B0D5-CA7D-40FB-964A-23276295459E}"/>
    <pc:docChg chg="undo redo custSel addSld delSld modSld sldOrd">
      <pc:chgData name="Aurelien Domont" userId="6da7715ce44349b3" providerId="LiveId" clId="{AFF9B0D5-CA7D-40FB-964A-23276295459E}" dt="2021-07-06T05:45:33.756" v="7160" actId="47"/>
      <pc:docMkLst>
        <pc:docMk/>
      </pc:docMkLst>
      <pc:sldChg chg="modSp mod">
        <pc:chgData name="Aurelien Domont" userId="6da7715ce44349b3" providerId="LiveId" clId="{AFF9B0D5-CA7D-40FB-964A-23276295459E}" dt="2021-06-30T06:11:44.300" v="156" actId="1036"/>
        <pc:sldMkLst>
          <pc:docMk/>
          <pc:sldMk cId="3131901387" sldId="256"/>
        </pc:sldMkLst>
        <pc:spChg chg="mod">
          <ac:chgData name="Aurelien Domont" userId="6da7715ce44349b3" providerId="LiveId" clId="{AFF9B0D5-CA7D-40FB-964A-23276295459E}" dt="2021-06-30T05:56:33.821" v="7" actId="20577"/>
          <ac:spMkLst>
            <pc:docMk/>
            <pc:sldMk cId="3131901387" sldId="256"/>
            <ac:spMk id="2" creationId="{5261080C-C60C-4746-B6B1-A9A4FFA86785}"/>
          </ac:spMkLst>
        </pc:spChg>
        <pc:spChg chg="mod">
          <ac:chgData name="Aurelien Domont" userId="6da7715ce44349b3" providerId="LiveId" clId="{AFF9B0D5-CA7D-40FB-964A-23276295459E}" dt="2021-06-30T06:11:44.300" v="156" actId="1036"/>
          <ac:spMkLst>
            <pc:docMk/>
            <pc:sldMk cId="3131901387" sldId="256"/>
            <ac:spMk id="16" creationId="{2436D48A-FAB5-4E4C-AB97-233E7A3795E6}"/>
          </ac:spMkLst>
        </pc:spChg>
      </pc:sldChg>
      <pc:sldChg chg="add">
        <pc:chgData name="Aurelien Domont" userId="6da7715ce44349b3" providerId="LiveId" clId="{AFF9B0D5-CA7D-40FB-964A-23276295459E}" dt="2021-07-06T03:29:06.794" v="6239"/>
        <pc:sldMkLst>
          <pc:docMk/>
          <pc:sldMk cId="3072119178" sldId="1488"/>
        </pc:sldMkLst>
      </pc:sldChg>
      <pc:sldChg chg="add">
        <pc:chgData name="Aurelien Domont" userId="6da7715ce44349b3" providerId="LiveId" clId="{AFF9B0D5-CA7D-40FB-964A-23276295459E}" dt="2021-07-06T03:29:06.794" v="6239"/>
        <pc:sldMkLst>
          <pc:docMk/>
          <pc:sldMk cId="926313830" sldId="1489"/>
        </pc:sldMkLst>
      </pc:sldChg>
      <pc:sldChg chg="add">
        <pc:chgData name="Aurelien Domont" userId="6da7715ce44349b3" providerId="LiveId" clId="{AFF9B0D5-CA7D-40FB-964A-23276295459E}" dt="2021-07-06T03:29:06.794" v="6239"/>
        <pc:sldMkLst>
          <pc:docMk/>
          <pc:sldMk cId="3370215172" sldId="1490"/>
        </pc:sldMkLst>
      </pc:sldChg>
      <pc:sldChg chg="delSp add mod">
        <pc:chgData name="Aurelien Domont" userId="6da7715ce44349b3" providerId="LiveId" clId="{AFF9B0D5-CA7D-40FB-964A-23276295459E}" dt="2021-07-06T03:40:44.994" v="6305" actId="478"/>
        <pc:sldMkLst>
          <pc:docMk/>
          <pc:sldMk cId="388158782" sldId="1514"/>
        </pc:sldMkLst>
        <pc:spChg chg="del">
          <ac:chgData name="Aurelien Domont" userId="6da7715ce44349b3" providerId="LiveId" clId="{AFF9B0D5-CA7D-40FB-964A-23276295459E}" dt="2021-07-06T03:40:44.994" v="6305" actId="478"/>
          <ac:spMkLst>
            <pc:docMk/>
            <pc:sldMk cId="388158782" sldId="1514"/>
            <ac:spMk id="2" creationId="{212698CA-525D-4C2D-9189-5F72AC48FE69}"/>
          </ac:spMkLst>
        </pc:spChg>
      </pc:sldChg>
      <pc:sldChg chg="delSp add mod">
        <pc:chgData name="Aurelien Domont" userId="6da7715ce44349b3" providerId="LiveId" clId="{AFF9B0D5-CA7D-40FB-964A-23276295459E}" dt="2021-07-06T03:40:55.616" v="6309" actId="478"/>
        <pc:sldMkLst>
          <pc:docMk/>
          <pc:sldMk cId="2270541995" sldId="1519"/>
        </pc:sldMkLst>
        <pc:spChg chg="del">
          <ac:chgData name="Aurelien Domont" userId="6da7715ce44349b3" providerId="LiveId" clId="{AFF9B0D5-CA7D-40FB-964A-23276295459E}" dt="2021-07-06T03:40:55.616" v="6309" actId="478"/>
          <ac:spMkLst>
            <pc:docMk/>
            <pc:sldMk cId="2270541995" sldId="1519"/>
            <ac:spMk id="20" creationId="{2180E81B-773A-41E2-B5E9-ED6F14F6562A}"/>
          </ac:spMkLst>
        </pc:spChg>
      </pc:sldChg>
      <pc:sldChg chg="delSp add mod">
        <pc:chgData name="Aurelien Domont" userId="6da7715ce44349b3" providerId="LiveId" clId="{AFF9B0D5-CA7D-40FB-964A-23276295459E}" dt="2021-07-06T03:40:41.352" v="6304" actId="478"/>
        <pc:sldMkLst>
          <pc:docMk/>
          <pc:sldMk cId="112122695" sldId="1521"/>
        </pc:sldMkLst>
        <pc:spChg chg="del">
          <ac:chgData name="Aurelien Domont" userId="6da7715ce44349b3" providerId="LiveId" clId="{AFF9B0D5-CA7D-40FB-964A-23276295459E}" dt="2021-07-06T03:40:41.352" v="6304" actId="478"/>
          <ac:spMkLst>
            <pc:docMk/>
            <pc:sldMk cId="112122695" sldId="1521"/>
            <ac:spMk id="9" creationId="{2617BC3D-6D60-4D40-8CB3-9F2918741106}"/>
          </ac:spMkLst>
        </pc:spChg>
      </pc:sldChg>
      <pc:sldChg chg="delSp add mod">
        <pc:chgData name="Aurelien Domont" userId="6da7715ce44349b3" providerId="LiveId" clId="{AFF9B0D5-CA7D-40FB-964A-23276295459E}" dt="2021-07-06T03:40:47.380" v="6306" actId="478"/>
        <pc:sldMkLst>
          <pc:docMk/>
          <pc:sldMk cId="3014473461" sldId="1527"/>
        </pc:sldMkLst>
        <pc:spChg chg="del">
          <ac:chgData name="Aurelien Domont" userId="6da7715ce44349b3" providerId="LiveId" clId="{AFF9B0D5-CA7D-40FB-964A-23276295459E}" dt="2021-07-06T03:40:47.380" v="6306" actId="478"/>
          <ac:spMkLst>
            <pc:docMk/>
            <pc:sldMk cId="3014473461" sldId="1527"/>
            <ac:spMk id="14" creationId="{44AD6DED-2211-4435-A310-86FB6FD47D05}"/>
          </ac:spMkLst>
        </pc:spChg>
      </pc:sldChg>
      <pc:sldChg chg="delSp add mod">
        <pc:chgData name="Aurelien Domont" userId="6da7715ce44349b3" providerId="LiveId" clId="{AFF9B0D5-CA7D-40FB-964A-23276295459E}" dt="2021-07-06T03:40:49.742" v="6307" actId="478"/>
        <pc:sldMkLst>
          <pc:docMk/>
          <pc:sldMk cId="4130717619" sldId="1530"/>
        </pc:sldMkLst>
        <pc:spChg chg="del">
          <ac:chgData name="Aurelien Domont" userId="6da7715ce44349b3" providerId="LiveId" clId="{AFF9B0D5-CA7D-40FB-964A-23276295459E}" dt="2021-07-06T03:40:49.742" v="6307" actId="478"/>
          <ac:spMkLst>
            <pc:docMk/>
            <pc:sldMk cId="4130717619" sldId="1530"/>
            <ac:spMk id="34" creationId="{194B2D88-1AE6-4ACA-83A8-96444B90AE3C}"/>
          </ac:spMkLst>
        </pc:spChg>
      </pc:sldChg>
      <pc:sldChg chg="add">
        <pc:chgData name="Aurelien Domont" userId="6da7715ce44349b3" providerId="LiveId" clId="{AFF9B0D5-CA7D-40FB-964A-23276295459E}" dt="2021-07-06T03:47:03.351" v="6356"/>
        <pc:sldMkLst>
          <pc:docMk/>
          <pc:sldMk cId="1754585881" sldId="1598"/>
        </pc:sldMkLst>
      </pc:sldChg>
      <pc:sldChg chg="add del">
        <pc:chgData name="Aurelien Domont" userId="6da7715ce44349b3" providerId="LiveId" clId="{AFF9B0D5-CA7D-40FB-964A-23276295459E}" dt="2021-07-06T03:59:24.275" v="6368" actId="47"/>
        <pc:sldMkLst>
          <pc:docMk/>
          <pc:sldMk cId="748962572" sldId="1599"/>
        </pc:sldMkLst>
      </pc:sldChg>
      <pc:sldChg chg="add">
        <pc:chgData name="Aurelien Domont" userId="6da7715ce44349b3" providerId="LiveId" clId="{AFF9B0D5-CA7D-40FB-964A-23276295459E}" dt="2021-07-06T03:47:03.351" v="6356"/>
        <pc:sldMkLst>
          <pc:docMk/>
          <pc:sldMk cId="2853806433" sldId="1600"/>
        </pc:sldMkLst>
      </pc:sldChg>
      <pc:sldChg chg="delSp add mod">
        <pc:chgData name="Aurelien Domont" userId="6da7715ce44349b3" providerId="LiveId" clId="{AFF9B0D5-CA7D-40FB-964A-23276295459E}" dt="2021-07-06T03:40:51.818" v="6308" actId="478"/>
        <pc:sldMkLst>
          <pc:docMk/>
          <pc:sldMk cId="2815671749" sldId="1601"/>
        </pc:sldMkLst>
        <pc:spChg chg="del">
          <ac:chgData name="Aurelien Domont" userId="6da7715ce44349b3" providerId="LiveId" clId="{AFF9B0D5-CA7D-40FB-964A-23276295459E}" dt="2021-07-06T03:40:51.818" v="6308" actId="478"/>
          <ac:spMkLst>
            <pc:docMk/>
            <pc:sldMk cId="2815671749" sldId="1601"/>
            <ac:spMk id="24" creationId="{4BCA7FD1-DB5E-4F8E-B0CC-4AE245CCA562}"/>
          </ac:spMkLst>
        </pc:spChg>
      </pc:sldChg>
      <pc:sldChg chg="addSp delSp modSp add mod">
        <pc:chgData name="Aurelien Domont" userId="6da7715ce44349b3" providerId="LiveId" clId="{AFF9B0D5-CA7D-40FB-964A-23276295459E}" dt="2021-07-06T05:44:42.038" v="7159"/>
        <pc:sldMkLst>
          <pc:docMk/>
          <pc:sldMk cId="1252826214" sldId="1711"/>
        </pc:sldMkLst>
        <pc:spChg chg="add del mod">
          <ac:chgData name="Aurelien Domont" userId="6da7715ce44349b3" providerId="LiveId" clId="{AFF9B0D5-CA7D-40FB-964A-23276295459E}" dt="2021-07-06T05:44:33.360" v="7158" actId="478"/>
          <ac:spMkLst>
            <pc:docMk/>
            <pc:sldMk cId="1252826214" sldId="1711"/>
            <ac:spMk id="4" creationId="{A0F996F7-F20A-47BA-B1AF-1C8B779CA79D}"/>
          </ac:spMkLst>
        </pc:spChg>
        <pc:spChg chg="add del mod">
          <ac:chgData name="Aurelien Domont" userId="6da7715ce44349b3" providerId="LiveId" clId="{AFF9B0D5-CA7D-40FB-964A-23276295459E}" dt="2021-07-06T05:15:06.168" v="6682" actId="478"/>
          <ac:spMkLst>
            <pc:docMk/>
            <pc:sldMk cId="1252826214" sldId="1711"/>
            <ac:spMk id="6" creationId="{067DEC11-2878-4496-BCB1-34143B3D39F6}"/>
          </ac:spMkLst>
        </pc:spChg>
        <pc:spChg chg="del mod">
          <ac:chgData name="Aurelien Domont" userId="6da7715ce44349b3" providerId="LiveId" clId="{AFF9B0D5-CA7D-40FB-964A-23276295459E}" dt="2021-07-06T05:16:43.228" v="6710" actId="478"/>
          <ac:spMkLst>
            <pc:docMk/>
            <pc:sldMk cId="1252826214" sldId="1711"/>
            <ac:spMk id="9" creationId="{71937F58-B9F0-481F-8FE4-CB6A95D57416}"/>
          </ac:spMkLst>
        </pc:spChg>
        <pc:spChg chg="add mod">
          <ac:chgData name="Aurelien Domont" userId="6da7715ce44349b3" providerId="LiveId" clId="{AFF9B0D5-CA7D-40FB-964A-23276295459E}" dt="2021-07-06T05:31:57.238" v="6993" actId="1036"/>
          <ac:spMkLst>
            <pc:docMk/>
            <pc:sldMk cId="1252826214" sldId="1711"/>
            <ac:spMk id="11" creationId="{1C1B8EC1-2923-4978-A61D-27E28146FFD1}"/>
          </ac:spMkLst>
        </pc:spChg>
        <pc:spChg chg="add del">
          <ac:chgData name="Aurelien Domont" userId="6da7715ce44349b3" providerId="LiveId" clId="{AFF9B0D5-CA7D-40FB-964A-23276295459E}" dt="2021-07-06T05:20:08.222" v="6825"/>
          <ac:spMkLst>
            <pc:docMk/>
            <pc:sldMk cId="1252826214" sldId="1711"/>
            <ac:spMk id="12" creationId="{6C7760B7-5B47-4B2B-B236-C6B87C8BA92C}"/>
          </ac:spMkLst>
        </pc:spChg>
        <pc:spChg chg="del">
          <ac:chgData name="Aurelien Domont" userId="6da7715ce44349b3" providerId="LiveId" clId="{AFF9B0D5-CA7D-40FB-964A-23276295459E}" dt="2021-07-06T05:44:31.280" v="7157" actId="478"/>
          <ac:spMkLst>
            <pc:docMk/>
            <pc:sldMk cId="1252826214" sldId="1711"/>
            <ac:spMk id="16" creationId="{6C2BB713-9637-4B9B-938F-E9768876782A}"/>
          </ac:spMkLst>
        </pc:spChg>
        <pc:spChg chg="mod">
          <ac:chgData name="Aurelien Domont" userId="6da7715ce44349b3" providerId="LiveId" clId="{AFF9B0D5-CA7D-40FB-964A-23276295459E}" dt="2021-07-06T05:23:47.431" v="6878" actId="14100"/>
          <ac:spMkLst>
            <pc:docMk/>
            <pc:sldMk cId="1252826214" sldId="1711"/>
            <ac:spMk id="25" creationId="{86A71970-E46B-4358-8BCC-1715EFB36D64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26" creationId="{2D6AF8B1-5CD0-4EF5-8A94-99CDB8159F2E}"/>
          </ac:spMkLst>
        </pc:spChg>
        <pc:spChg chg="mod">
          <ac:chgData name="Aurelien Domont" userId="6da7715ce44349b3" providerId="LiveId" clId="{AFF9B0D5-CA7D-40FB-964A-23276295459E}" dt="2021-07-06T05:23:28.443" v="6876" actId="14100"/>
          <ac:spMkLst>
            <pc:docMk/>
            <pc:sldMk cId="1252826214" sldId="1711"/>
            <ac:spMk id="27" creationId="{2221734C-F2C9-4C4F-AF07-9C7EB749C560}"/>
          </ac:spMkLst>
        </pc:spChg>
        <pc:spChg chg="mod">
          <ac:chgData name="Aurelien Domont" userId="6da7715ce44349b3" providerId="LiveId" clId="{AFF9B0D5-CA7D-40FB-964A-23276295459E}" dt="2021-07-06T05:27:43.126" v="6976" actId="20577"/>
          <ac:spMkLst>
            <pc:docMk/>
            <pc:sldMk cId="1252826214" sldId="1711"/>
            <ac:spMk id="28" creationId="{9890D867-710A-4021-80A0-9EDD68F8268E}"/>
          </ac:spMkLst>
        </pc:spChg>
        <pc:spChg chg="del">
          <ac:chgData name="Aurelien Domont" userId="6da7715ce44349b3" providerId="LiveId" clId="{AFF9B0D5-CA7D-40FB-964A-23276295459E}" dt="2021-07-06T05:09:58.690" v="6602" actId="478"/>
          <ac:spMkLst>
            <pc:docMk/>
            <pc:sldMk cId="1252826214" sldId="1711"/>
            <ac:spMk id="29" creationId="{E4DF25B1-5908-47C1-9DE1-8B071152AB86}"/>
          </ac:spMkLst>
        </pc:spChg>
        <pc:spChg chg="del">
          <ac:chgData name="Aurelien Domont" userId="6da7715ce44349b3" providerId="LiveId" clId="{AFF9B0D5-CA7D-40FB-964A-23276295459E}" dt="2021-07-06T05:09:58.690" v="6602" actId="478"/>
          <ac:spMkLst>
            <pc:docMk/>
            <pc:sldMk cId="1252826214" sldId="1711"/>
            <ac:spMk id="30" creationId="{3E4A0BFB-23C7-4F96-9BBB-BDB5A22654B7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31" creationId="{0E591EF6-7966-4517-B0EF-26C41FB1666B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32" creationId="{FB523FCB-D7D5-4D2D-BF16-04E8085A46E6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33" creationId="{42D0DD8F-30AB-4FAB-8025-D308C2977F2E}"/>
          </ac:spMkLst>
        </pc:spChg>
        <pc:spChg chg="mod">
          <ac:chgData name="Aurelien Domont" userId="6da7715ce44349b3" providerId="LiveId" clId="{AFF9B0D5-CA7D-40FB-964A-23276295459E}" dt="2021-07-06T05:23:54.440" v="6888" actId="1038"/>
          <ac:spMkLst>
            <pc:docMk/>
            <pc:sldMk cId="1252826214" sldId="1711"/>
            <ac:spMk id="34" creationId="{D73AA7D2-25BB-4811-9D38-82BD21C8478B}"/>
          </ac:spMkLst>
        </pc:spChg>
        <pc:spChg chg="del">
          <ac:chgData name="Aurelien Domont" userId="6da7715ce44349b3" providerId="LiveId" clId="{AFF9B0D5-CA7D-40FB-964A-23276295459E}" dt="2021-07-06T05:12:46.120" v="6667" actId="478"/>
          <ac:spMkLst>
            <pc:docMk/>
            <pc:sldMk cId="1252826214" sldId="1711"/>
            <ac:spMk id="35" creationId="{A0E19B17-F701-4258-8590-B311C8DDA595}"/>
          </ac:spMkLst>
        </pc:spChg>
        <pc:spChg chg="del mod">
          <ac:chgData name="Aurelien Domont" userId="6da7715ce44349b3" providerId="LiveId" clId="{AFF9B0D5-CA7D-40FB-964A-23276295459E}" dt="2021-07-06T05:12:45.357" v="6666" actId="478"/>
          <ac:spMkLst>
            <pc:docMk/>
            <pc:sldMk cId="1252826214" sldId="1711"/>
            <ac:spMk id="36" creationId="{2D29A82D-BC16-4480-BBD6-9098406BF29E}"/>
          </ac:spMkLst>
        </pc:spChg>
        <pc:spChg chg="mod">
          <ac:chgData name="Aurelien Domont" userId="6da7715ce44349b3" providerId="LiveId" clId="{AFF9B0D5-CA7D-40FB-964A-23276295459E}" dt="2021-07-06T05:23:47.431" v="6878" actId="14100"/>
          <ac:spMkLst>
            <pc:docMk/>
            <pc:sldMk cId="1252826214" sldId="1711"/>
            <ac:spMk id="37" creationId="{EF41B183-983A-424C-A811-31D7B9F3E067}"/>
          </ac:spMkLst>
        </pc:spChg>
        <pc:spChg chg="mod">
          <ac:chgData name="Aurelien Domont" userId="6da7715ce44349b3" providerId="LiveId" clId="{AFF9B0D5-CA7D-40FB-964A-23276295459E}" dt="2021-07-06T05:35:23.276" v="7039"/>
          <ac:spMkLst>
            <pc:docMk/>
            <pc:sldMk cId="1252826214" sldId="1711"/>
            <ac:spMk id="38" creationId="{A222A58B-1B90-4496-A948-F185A3E65D28}"/>
          </ac:spMkLst>
        </pc:spChg>
        <pc:spChg chg="mod">
          <ac:chgData name="Aurelien Domont" userId="6da7715ce44349b3" providerId="LiveId" clId="{AFF9B0D5-CA7D-40FB-964A-23276295459E}" dt="2021-07-06T05:32:21.329" v="6995" actId="14100"/>
          <ac:spMkLst>
            <pc:docMk/>
            <pc:sldMk cId="1252826214" sldId="1711"/>
            <ac:spMk id="39" creationId="{BDA9DBF3-656C-4C64-8120-5BCE657C516A}"/>
          </ac:spMkLst>
        </pc:spChg>
        <pc:spChg chg="mod">
          <ac:chgData name="Aurelien Domont" userId="6da7715ce44349b3" providerId="LiveId" clId="{AFF9B0D5-CA7D-40FB-964A-23276295459E}" dt="2021-07-06T05:27:19.743" v="6972" actId="108"/>
          <ac:spMkLst>
            <pc:docMk/>
            <pc:sldMk cId="1252826214" sldId="1711"/>
            <ac:spMk id="40" creationId="{573A5304-C348-4211-8C8D-05DBFC25C98C}"/>
          </ac:spMkLst>
        </pc:spChg>
        <pc:spChg chg="del">
          <ac:chgData name="Aurelien Domont" userId="6da7715ce44349b3" providerId="LiveId" clId="{AFF9B0D5-CA7D-40FB-964A-23276295459E}" dt="2021-07-06T05:17:45.622" v="6723" actId="478"/>
          <ac:spMkLst>
            <pc:docMk/>
            <pc:sldMk cId="1252826214" sldId="1711"/>
            <ac:spMk id="41" creationId="{93A28468-1D3A-41AA-A2BE-DB66EFC3CD98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2" creationId="{C8F1F745-3329-4D1C-8C1D-2697F60182DB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3" creationId="{CD6F8BD1-6E73-4D05-BCCD-9EB6F16B6E67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4" creationId="{C2847E84-7377-4C55-9551-93BFBF6FEAA8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5" creationId="{A5500D33-EA9D-48E4-9733-714824AB545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49" creationId="{98BBAC1A-48C3-457C-83C0-ADBB10236A6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1" creationId="{9A288DA3-6576-4034-9768-3D54DD56A2F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2" creationId="{2C0ABCF5-75CC-4F90-A550-A281E4369D3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3" creationId="{A35E12DA-6263-428E-ACD5-29E12DA389B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4" creationId="{CAAD048A-B585-48D8-9EFF-61437A944C8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5" creationId="{1C35F4BA-69DA-4CED-8ABA-DCEFCBF6757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6" creationId="{32D9D994-5044-4621-9BA8-ADC26A40053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8" creationId="{F68A2200-BED7-4D8E-9475-717F0757443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9" creationId="{B3613336-86C9-401F-B78E-9D46A34B7C8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0" creationId="{B85D8F1C-56D7-4360-927B-5B7067E9BFF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2" creationId="{72EBD9EE-39F0-4737-B62A-C4E42C1C0F9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3" creationId="{6A1D4621-CB0F-4600-999E-383FB5B7772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4" creationId="{45496A84-1710-4A3D-B2FE-F670417245A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6" creationId="{90B134E2-230D-4E83-9B2B-2B5C0A7635A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7" creationId="{42F516B0-83CB-401D-9D4F-5EFC00BB80F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8" creationId="{AEDBB3BA-B9B5-4529-80D6-07A47E3580D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9" creationId="{103CE0F2-1959-4FB4-9DEB-710314E74D8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0" creationId="{4F08ECD2-B0A3-418F-849F-235D1C7B011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1" creationId="{5E649382-9C23-4795-BBF9-46D64A38F33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3" creationId="{98ADAE93-D5E4-4A59-9C44-F3321359FCD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6" creationId="{EF511045-E73B-4CFF-885B-23ECD1E8C17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7" creationId="{BF50E8F5-4960-4CF4-8383-AF42F855C8F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8" creationId="{EA39EB43-A228-4F10-9D52-7DCE445E017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9" creationId="{95BF0EB2-490C-4E4C-983D-DB8C80733A1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0" creationId="{407A864B-2946-4460-8D74-618B9CA860C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1" creationId="{ADA77C41-C517-4C6A-92B8-8C800F9BABE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2" creationId="{FD1F4F0E-11F9-489B-AEEE-DCA1015253E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3" creationId="{691F974D-6BEA-413E-AFE8-2F8F695C9D1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4" creationId="{9A782A32-53DB-445E-8E52-7A868950331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5" creationId="{89889F1F-F5A9-4CDA-9661-2DABF92F0C9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6" creationId="{4AB652D7-26CE-4535-9304-FA5D0E7D6FE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7" creationId="{5394BAFA-E989-4A31-B6CE-E7B95647C88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8" creationId="{CC2CD2E4-CCD1-47BB-A4BE-E08B6EE05F8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9" creationId="{FA39D6F1-3E4E-4C18-8AA5-C6DEADB50CF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1" creationId="{D28CFB18-6653-431F-B2ED-C546617D22A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2" creationId="{9FCD6F56-B8C1-4FC0-863D-8E71A8CB23A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3" creationId="{29F54C2A-36D0-421A-9230-E5196D9A16C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4" creationId="{C0445C87-6890-4F17-8D40-1619FBDB78C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5" creationId="{1F6DB845-3BA5-4D76-BC5C-6C9E21073F4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6" creationId="{C5C31C86-8CBA-4C46-B3DE-65A8CCD3267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7" creationId="{CE67ACDE-6CFE-4F6E-ADB6-E5D8AF8B1F9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8" creationId="{CB872E09-31AF-4938-9583-886CE3BA7AD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9" creationId="{B0DCB1F1-0801-4DD1-9DC9-1D72512FF5D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0" creationId="{7506D3EC-7627-4E29-8992-84797B05FEA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1" creationId="{4F79DD9B-4316-48D9-B0AD-A65A6A07FBE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2" creationId="{F7E30A9B-D06A-4314-A309-7CCC67FD796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3" creationId="{55AC66FC-1912-4FA6-9D9B-62AA0870F6A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4" creationId="{1EF74135-38F5-4B5B-8767-B58DF6090E9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5" creationId="{E3D9AEA2-B142-4632-B159-C828C0E799D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6" creationId="{73C311A6-1A4D-4EBA-83CA-E3FF3F35E0F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7" creationId="{02B694A8-55D5-4A2E-9316-39E66FF089F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8" creationId="{809A775B-E5D4-4867-B09A-C8A781646D7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9" creationId="{E5978EA7-ED59-430A-936F-7AAC511D80F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0" creationId="{A7719609-0A29-44D8-B66E-E402A76F776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1" creationId="{AE2EB892-083B-4926-A4AF-A6476C2E6D9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2" creationId="{E06CD000-F4B9-4678-8D0F-0F22AD97FDB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3" creationId="{E43B555A-3022-4CDD-B5AC-2524555140D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4" creationId="{926AFD02-FCE4-4DC8-B6DD-C5839ECD5A4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5" creationId="{6D5E84FF-0D77-4C0F-9A8C-8AC9C2395F7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6" creationId="{D53E2190-2974-43B0-A06A-0D8F1220AE3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7" creationId="{44ED2386-1DC3-4623-A6DA-1C996E2D987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8" creationId="{76BC809E-3675-4C34-9947-BCBD6C81CC3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9" creationId="{EB91065C-D149-407F-A0DD-DA4D4B39AA8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0" creationId="{715873A8-606D-4F59-8F16-F318092F4BB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1" creationId="{A07C7D0C-846B-4236-BB14-43D75616586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2" creationId="{B3A0DCF1-8E21-4CAD-AA10-1ED0A6683CF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3" creationId="{A3DD26C8-3E62-4801-9288-F886BA84555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4" creationId="{638676B9-2514-4195-9A72-8F37B541FA0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5" creationId="{2874D011-86B6-4115-9010-5D873F9E129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6" creationId="{BC4F0A17-7082-4D6A-BCA4-A2FEB3B6763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7" creationId="{19664302-30E7-4D9B-8029-61C3CA584B3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8" creationId="{2BF712B0-C7C2-42AE-B132-6C35AEB2CFB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9" creationId="{C64552A8-000A-42EA-A41A-842C50A3E75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0" creationId="{25211B52-F394-4B97-B910-E8F00FAA437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1" creationId="{1353AF21-9142-444E-B4D4-3937D3BC026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2" creationId="{06B49306-A228-40E0-A62A-F4152D2EF65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3" creationId="{9E6D7F6A-7952-44F2-9895-244DA66F775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4" creationId="{FD2B5EB3-F3EB-4406-993B-782ECD460A2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5" creationId="{97C8E616-A639-4342-AB7C-2BA7239190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6" creationId="{545FB3BD-6F68-47F3-8B2A-9A4D3CED899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7" creationId="{A595BE95-CA86-4E4A-97BC-8ECDAC59BA6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8" creationId="{CE364E54-2E11-4C63-A303-5EB591D6D01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9" creationId="{1EFA42D7-4448-4E18-A729-6CF3DBA94A3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0" creationId="{8C2C812B-C909-499A-B3F4-D6BA4928BD0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1" creationId="{34849A92-9597-49BF-977B-9951D462FED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2" creationId="{DDEA1F90-0863-42CA-BDC2-92B238A78A8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3" creationId="{D8C37E11-C4BD-4A84-BF63-578417B77BEB}"/>
          </ac:spMkLst>
        </pc:spChg>
        <pc:spChg chg="mod topLvl">
          <ac:chgData name="Aurelien Domont" userId="6da7715ce44349b3" providerId="LiveId" clId="{AFF9B0D5-CA7D-40FB-964A-23276295459E}" dt="2021-07-06T05:29:10.437" v="6979" actId="108"/>
          <ac:spMkLst>
            <pc:docMk/>
            <pc:sldMk cId="1252826214" sldId="1711"/>
            <ac:spMk id="144" creationId="{C375A887-D5E3-4F99-9950-A79EB6CA9A6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5" creationId="{D68A8DB0-4D69-4C87-A962-C8F9E969D52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6" creationId="{B027E49D-713A-4007-8722-5D14C2C7EAC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7" creationId="{8043C5E2-C7CB-4A63-B4D5-162D9FF00E2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8" creationId="{B55A0DD7-4E48-406D-93E4-0B3AE2F1CEF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9" creationId="{91F4980C-1E3A-4BE7-A200-8DEF8ABE3F9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0" creationId="{E211A3E5-A626-4167-82E1-6D2198386F4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1" creationId="{131EE606-1F8D-4B48-8188-352E524DF4A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2" creationId="{7436FE4F-A3CC-4C95-902D-8B1D92D535B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4" creationId="{78505EE0-DBC4-400C-A718-6C2C024583C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6" creationId="{88B98B20-4520-41ED-9304-72DC955877E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8" creationId="{9E8DA2CC-D49D-41A6-B0D6-42D3BDA7D0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0" creationId="{5C3FA1B3-B4AC-48D4-B714-2D1BA93D079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1" creationId="{541E197F-4044-4204-8FDA-395AE323CAC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2" creationId="{87E0E64E-A590-4A08-8106-4F02B5C7D00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3" creationId="{71EA5F10-6A1F-4BE6-B877-E41B6C053DD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4" creationId="{F0F68B0B-B377-4B7D-9268-E3F776C48BF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5" creationId="{C5E2B2CD-FB89-4C8F-B686-E9E31134442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6" creationId="{08CE1BAD-B909-4C15-B25E-0DB0122FF7B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7" creationId="{DA557A7B-858E-40EE-A7F1-8A77F519D6E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8" creationId="{01515CE9-46BA-4B0A-951F-C33D9C9A402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9" creationId="{3F8CDBC1-9629-45C2-A85E-CA02DB9041E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1" creationId="{963AD41B-26F5-4D47-AD53-8AC2972B2A9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2" creationId="{A95BECF4-65E0-4E20-8E81-BF2D70CA24F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3" creationId="{A82C2CB6-9C1B-463B-B201-2EDC9A84F80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4" creationId="{F13E0817-830A-4419-9E5B-A121B77DA6D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5" creationId="{8E6C7D94-2CCA-4C44-B3CB-82E170208E8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6" creationId="{D658C2E5-253C-49B8-9139-B1A75693B43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7" creationId="{59202752-5754-4DE6-B2D6-DF32F10E5DC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8" creationId="{7D1A9FB2-D060-4515-BD88-6FCAEAF225B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9" creationId="{A4200E5E-8CC9-48B5-AA45-0716870EB5D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0" creationId="{88387600-1A81-43F5-A5F6-E595CC54644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1" creationId="{992FA9DF-63EC-429A-BF35-AE164E2FF6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2" creationId="{92554E69-034D-4A5C-9380-796DF5D21CB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3" creationId="{D33F1956-7744-4394-A0B6-5DC6187179A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4" creationId="{C4D285CB-4C4F-400C-B984-87DC8A9E1D1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5" creationId="{2BE5A517-FA3C-44CF-972A-C5B15864EF7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6" creationId="{2AF56B3E-A4A0-4E78-9F27-6E1F86480A6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7" creationId="{65BAB392-D000-4FDD-8FB1-AE51D60AF3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8" creationId="{D02BDEA7-490D-491D-ADE1-354D74062D9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9" creationId="{E6CC3D2F-DB61-47E2-8F82-35A70A7033D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0" creationId="{A13D6358-E032-4D42-8B3A-BB647533A52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1" creationId="{2B54C7EB-4521-4D8E-8CC8-3C3AFB6C9D5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2" creationId="{56F9B48F-62FA-48FD-A47B-AEF05EC56DE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3" creationId="{4462D747-86EA-41CA-8F26-DE6608A116F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4" creationId="{DBBD5777-1E56-4ABE-BA16-5C74CE9A0EA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5" creationId="{7D7286B1-9422-4310-B4C2-615AF19EAAC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6" creationId="{D40F5B22-E2AA-4258-9265-F1FF9ED960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7" creationId="{AD4D240B-D50A-4D70-8C0B-977F83984D3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8" creationId="{6CE44318-CD7E-445D-B758-E7779777C82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9" creationId="{1F0F724B-E44F-41E4-8A14-AE2C600D3B3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0" creationId="{86E37F85-C5A4-488E-B339-0F0F1556574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1" creationId="{B1F3E296-E0F1-42B3-8EB5-18834C3DEF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2" creationId="{BCB202AA-2A16-4C5C-AA67-6AFAFA8F69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3" creationId="{0C93BDFC-9980-4906-BF18-DAD7D5B3E8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4" creationId="{2483B080-5A2E-4F13-B9A0-DEDEF807990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5" creationId="{7F1B88CC-77FA-4556-9E9A-EBE75920496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6" creationId="{003FC4C7-BA5E-490B-A4F1-1C0EFED6FB8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7" creationId="{9BD2EF94-3A1F-4B1E-8B71-180E83DE23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8" creationId="{EAEDBD41-082E-45BA-8113-5C661357A1E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9" creationId="{BC07ED43-92C0-4463-BE91-75D378245AC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0" creationId="{193E87B5-9C63-4375-B210-A66A1AFCCF6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1" creationId="{793AFA17-087D-46AE-869B-60FF321E751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2" creationId="{84307B0E-2C20-4123-9CAA-1D24370C93C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3" creationId="{77A30CF6-910C-42F4-A2AF-820286EDA0E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4" creationId="{3F674640-2E1D-4DFF-B01D-3A34889302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5" creationId="{85D81B0A-8416-497A-99DC-67F35F0AD3D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6" creationId="{C18ABAB0-2722-4783-84A2-5634D23EAA7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7" creationId="{EFCB03DB-03D6-4A91-8CBD-792B0C10DE6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8" creationId="{C59BD9FB-1B30-423F-B1D7-751A58E65F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9" creationId="{EFA08614-7E06-47B4-99AF-2865D4F4797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0" creationId="{444A65E3-4F6F-4AFB-87EC-33F20023A96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1" creationId="{E4377BC2-14F9-4CD6-A14C-C44A4E3AA61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2" creationId="{5CCF650A-0F72-4561-8E58-2343C3DBFEB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3" creationId="{63CA195B-A87C-444E-8191-3ECC991AB87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4" creationId="{1BF71304-587F-4508-A321-52BEFDF494D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5" creationId="{D74CE2DA-D7AA-4661-A52B-C9D5B3290A9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6" creationId="{551F1F9D-E21B-4640-B8C7-C60950AB30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7" creationId="{936ED875-F3AB-4A18-8E6A-F9C7C270CF0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8" creationId="{430A0786-7BD9-46DA-A610-519693964F0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9" creationId="{DBAC6905-1A25-4E2C-90D6-5580DDEDDB8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0" creationId="{63E38F12-2AAD-4FA1-88BA-4655424B7AB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1" creationId="{4BD50ED2-1085-45E9-834B-CC17883DC94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2" creationId="{6E77A66E-2021-43C9-8F5F-B91B3DF1E25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3" creationId="{EBD29889-D0B4-43B9-8442-B91A3B9BE83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4" creationId="{21F0D43F-287D-4CDA-B746-2C8A66A8237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5" creationId="{ABF8C690-9AB9-49DF-AC8F-3A1B953C788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6" creationId="{E3F0EFE2-BC71-410C-B51D-B34F896014E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7" creationId="{54372FEB-36D5-41EF-9588-6403ECD97FE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8" creationId="{EF6C8537-8511-49E7-A9E1-0022384E549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9" creationId="{469F0A00-47B2-4DDD-BF87-88A646D345D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0" creationId="{30CB3E4B-42C8-4DF2-B739-CF227DDC8E7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1" creationId="{3CFFF04C-0086-4A1E-9B0B-90F93BCE689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2" creationId="{796536A7-650A-470B-B60A-89CB4DCDAE1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3" creationId="{28B07DF0-DD4F-4107-9049-E64C336BD23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4" creationId="{6222FCC7-32FF-4D0B-84C0-6C5967B837B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5" creationId="{E86832F6-2D52-4754-BB9D-E56F6A7E871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6" creationId="{1D89F624-F74E-456A-AF09-7B4A51BE1AA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7" creationId="{4F937EC5-8BD0-4FB5-A35C-E02B89B9360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48" creationId="{FB4D28D9-4023-4A47-99FC-62C7EC792373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49" creationId="{B1394C94-FF2C-4788-8280-D38679147605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0" creationId="{816DF731-9397-45CC-9DE6-BB914CD9AA5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1" creationId="{E5AA8E9A-B1B5-4B37-8D2F-1CEA3595297D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2" creationId="{0F32216C-9D5C-4ABD-BA85-DCF960936CA7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3" creationId="{BB015216-6946-4F91-A441-9A7C82F9FFDE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4" creationId="{6D16BABE-42DC-4409-AD87-E6921DA14DC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5" creationId="{884A3FEA-302A-4650-B628-684E3877AEB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6" creationId="{4AC67763-A7E7-44D7-BB4F-F145A5B5E7C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7" creationId="{1313848B-8C14-4024-BD20-CE60618ECDBE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8" creationId="{BD7C503B-09D3-483C-BDBC-F26FD18A18F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9" creationId="{33404832-32D5-4822-ABB4-AD4E015DE59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0" creationId="{848A4F6B-0C2A-4B12-BC5C-BFB1B79291F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1" creationId="{3B6A42B4-0FA5-4494-8935-4A0A8D92140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2" creationId="{C21EF6C5-637A-41A6-999A-A123A9FF536F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3" creationId="{FF0D9FE9-6439-4CB6-927A-C8BD823405CF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4" creationId="{D296E5B0-88FC-4606-80CE-86DB4D92B321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5" creationId="{1C37C82C-03CE-471E-B718-979BA7E7C1F3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6" creationId="{FA9BAED0-43F7-4E99-8B88-399CA30CA33F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7" creationId="{9454F253-2A59-4A63-ACAF-CC2D0548B1FD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8" creationId="{BC2F61F0-0972-40B7-9276-EC3C84E67EEC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9" creationId="{B1E799A7-A53F-4DD0-A331-B920C5631522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0" creationId="{3BCCB7F3-0A69-4735-8804-EA1993676A85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1" creationId="{5E8B5FE5-FAF9-4831-92A3-85C56F6B10BA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2" creationId="{37313F0F-7032-46C5-AB40-4833F09656C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3" creationId="{6E3F9E2E-887E-4711-8692-BB936FDF937E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4" creationId="{90E3737C-0897-45B0-80D4-8986F7FC090B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5" creationId="{AAA97107-21AF-4370-995C-0E31C43B175B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6" creationId="{28698661-DF5F-4315-8BCF-342C6DAABF3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77" creationId="{A8A5EE46-DA47-48F6-864D-98B8159A52F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78" creationId="{76BA38E6-1527-4FB9-80F3-E9B24A94F66A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79" creationId="{F381E2CA-1129-48CE-9073-C55B7F5C8268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0" creationId="{2DB5D79A-F4D8-46D6-96C8-80E274FB421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1" creationId="{A0DCC7A6-7BB9-4CA5-844A-ACA59AF55E8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2" creationId="{07D96F2F-FF99-4C3A-A04F-FF217CFF8FB5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3" creationId="{D60A68F1-1B93-4388-871C-FEC438998E4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4" creationId="{4887EB1B-0474-493C-B8FC-9AFF74407019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5" creationId="{29C4ADEA-05C2-47D4-8A91-E4DF7FCB00DA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6" creationId="{FEEA61E1-3107-42E6-A4FE-66C4C48E7580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7" creationId="{08D5FF95-9C8B-4A2E-90AA-F4543DAD75D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8" creationId="{452598D8-71D0-4298-B70D-98F0F0DA7BA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9" creationId="{AFB61959-8813-4625-8709-EEFA33F4EC0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0" creationId="{A79D43BA-E0DC-4B23-8D69-7E0A9859E87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1" creationId="{5CE3C608-4B79-45E1-96E9-1D3DB4FF8383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2" creationId="{FC1B405A-ED9D-4380-ABC7-B538AE14E53B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3" creationId="{EF082037-E064-42AF-98F0-9FE133DC1D09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4" creationId="{98B4C2FA-6767-429D-A4F4-A6C69BD8FB7F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5" creationId="{A1A87950-40EA-4DE8-8CE6-D33F454687B7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6" creationId="{E616D42A-88D3-4AFA-B922-1A7BE190414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7" creationId="{D168F5C9-5033-4E6F-B8D5-D77E4D9D65CA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8" creationId="{065D8614-4825-4AE2-A869-FCEDF9F80387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9" creationId="{4C7AB524-CCE6-49F7-8D9F-30746B9B9D62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0" creationId="{61E8DEAF-BF42-4784-BF39-C0F679BA7A86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1" creationId="{A5A442D7-7A6D-433C-9527-B7571BBCA64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2" creationId="{06E97FF2-37BE-4107-8DF4-06835090D05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3" creationId="{119917EB-FAF9-4A69-9834-DE5882545533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4" creationId="{462EA357-C5B7-44F6-8117-D3DB0A519ECA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5" creationId="{098AFEE8-22B5-4E43-B129-CE9960213C1B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6" creationId="{3E5EA9B4-DB9C-405D-9FD4-7F1D0CA83BC1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7" creationId="{11F8D39E-1E72-4276-B038-5D7B3890BF3C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8" creationId="{C5FE9365-E531-4365-BF20-9C387F8AC370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9" creationId="{C6CFEC23-FB1C-422C-8850-A9DF28DD29A1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0" creationId="{9865E04F-27B7-4A50-AB15-D3AFFB9DDCD2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1" creationId="{12BC7B78-F9A4-46AE-9A03-75599873A321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2" creationId="{2D61C530-0987-4150-BD04-B19B59069CD4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3" creationId="{07423ACC-5271-41F0-A4B3-F19E45B9E606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4" creationId="{BF8DA816-36D4-4CB3-83E0-182B4D82AA35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5" creationId="{4BF65DA2-D11A-4E7E-AFC8-ABE0DD43E994}"/>
          </ac:spMkLst>
        </pc:spChg>
        <pc:spChg chg="add mod">
          <ac:chgData name="Aurelien Domont" userId="6da7715ce44349b3" providerId="LiveId" clId="{AFF9B0D5-CA7D-40FB-964A-23276295459E}" dt="2021-07-06T05:44:42.038" v="7159"/>
          <ac:spMkLst>
            <pc:docMk/>
            <pc:sldMk cId="1252826214" sldId="1711"/>
            <ac:spMk id="316" creationId="{E1807DFC-6E0A-41E9-BAC7-1EE85BC2BECF}"/>
          </ac:spMkLst>
        </pc:spChg>
        <pc:spChg chg="add mod">
          <ac:chgData name="Aurelien Domont" userId="6da7715ce44349b3" providerId="LiveId" clId="{AFF9B0D5-CA7D-40FB-964A-23276295459E}" dt="2021-07-06T05:24:01.143" v="6896" actId="1038"/>
          <ac:spMkLst>
            <pc:docMk/>
            <pc:sldMk cId="1252826214" sldId="1711"/>
            <ac:spMk id="317" creationId="{57846E48-217C-4B20-8EAA-F792C5644C39}"/>
          </ac:spMkLst>
        </pc:spChg>
        <pc:spChg chg="add mod">
          <ac:chgData name="Aurelien Domont" userId="6da7715ce44349b3" providerId="LiveId" clId="{AFF9B0D5-CA7D-40FB-964A-23276295459E}" dt="2021-07-06T05:24:01.143" v="6896" actId="1038"/>
          <ac:spMkLst>
            <pc:docMk/>
            <pc:sldMk cId="1252826214" sldId="1711"/>
            <ac:spMk id="318" creationId="{7DCF6023-52B1-4514-840B-3C2A31F07EAD}"/>
          </ac:spMkLst>
        </pc:spChg>
        <pc:spChg chg="add mod">
          <ac:chgData name="Aurelien Domont" userId="6da7715ce44349b3" providerId="LiveId" clId="{AFF9B0D5-CA7D-40FB-964A-23276295459E}" dt="2021-07-06T05:32:29.667" v="6997" actId="14100"/>
          <ac:spMkLst>
            <pc:docMk/>
            <pc:sldMk cId="1252826214" sldId="1711"/>
            <ac:spMk id="321" creationId="{D18F414A-28FD-4A65-AF72-CEB65BAF1E6A}"/>
          </ac:spMkLst>
        </pc:spChg>
        <pc:spChg chg="add mod">
          <ac:chgData name="Aurelien Domont" userId="6da7715ce44349b3" providerId="LiveId" clId="{AFF9B0D5-CA7D-40FB-964A-23276295459E}" dt="2021-07-06T05:43:56.066" v="7156" actId="20577"/>
          <ac:spMkLst>
            <pc:docMk/>
            <pc:sldMk cId="1252826214" sldId="1711"/>
            <ac:spMk id="322" creationId="{5CDF6503-1C7D-45A1-A8DF-D8E13276A75E}"/>
          </ac:spMkLst>
        </pc:spChg>
        <pc:grpChg chg="del mod">
          <ac:chgData name="Aurelien Domont" userId="6da7715ce44349b3" providerId="LiveId" clId="{AFF9B0D5-CA7D-40FB-964A-23276295459E}" dt="2021-07-06T05:08:39.844" v="6597" actId="165"/>
          <ac:grpSpMkLst>
            <pc:docMk/>
            <pc:sldMk cId="1252826214" sldId="1711"/>
            <ac:grpSpMk id="5" creationId="{E1447482-894C-464E-8369-E45953F9A502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47" creationId="{D5D4B5DC-3DE6-4CEF-A50A-EB4214B0D845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48" creationId="{8B8C279D-E2F4-4798-8175-CEB06BFC314D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50" creationId="{AFEC8AB4-05F2-43B8-8A6C-7730F04CFC06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57" creationId="{012B866A-76DE-480D-B8A6-60E2A070C914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61" creationId="{3284F7B8-57FE-4081-8B8F-001F664C8474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65" creationId="{F77E394B-8C62-4B0F-B274-008D38043D9A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72" creationId="{A36B7DC4-1B53-4416-8305-AD78F046273A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74" creationId="{9BD7B3BD-D790-4305-84E7-5A72B29158D7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75" creationId="{794F3FAD-552B-4F54-B292-3C9EFB594DE8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90" creationId="{9CCE8B22-9644-4C67-9A90-6B439FFBAE2D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3" creationId="{DE3B1FBB-4F24-4945-9D06-9819C9B568DC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5" creationId="{ACD6C047-D92B-451C-881A-8F071319D4E8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7" creationId="{1E8CE4FC-8542-4C58-AEAC-96EB4CD31F91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9" creationId="{155A94F1-B6C3-4A95-9ED1-AF256CBD2141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70" creationId="{80B637A0-BA7C-425C-A0AF-B3E80B4AEC83}"/>
          </ac:grpSpMkLst>
        </pc:grpChg>
        <pc:graphicFrameChg chg="del">
          <ac:chgData name="Aurelien Domont" userId="6da7715ce44349b3" providerId="LiveId" clId="{AFF9B0D5-CA7D-40FB-964A-23276295459E}" dt="2021-07-06T05:17:50.403" v="6724" actId="478"/>
          <ac:graphicFrameMkLst>
            <pc:docMk/>
            <pc:sldMk cId="1252826214" sldId="1711"/>
            <ac:graphicFrameMk id="316" creationId="{DF34D884-0651-41A8-8F46-723764D3A3C0}"/>
          </ac:graphicFrameMkLst>
        </pc:graphicFrameChg>
        <pc:picChg chg="add del mod modCrop">
          <ac:chgData name="Aurelien Domont" userId="6da7715ce44349b3" providerId="LiveId" clId="{AFF9B0D5-CA7D-40FB-964A-23276295459E}" dt="2021-07-06T05:15:06.168" v="6682" actId="478"/>
          <ac:picMkLst>
            <pc:docMk/>
            <pc:sldMk cId="1252826214" sldId="1711"/>
            <ac:picMk id="4" creationId="{1617515F-40A1-42BD-9898-311815AACDC9}"/>
          </ac:picMkLst>
        </pc:picChg>
        <pc:picChg chg="add del mod">
          <ac:chgData name="Aurelien Domont" userId="6da7715ce44349b3" providerId="LiveId" clId="{AFF9B0D5-CA7D-40FB-964A-23276295459E}" dt="2021-07-06T05:14:44.128" v="6680" actId="27803"/>
          <ac:picMkLst>
            <pc:docMk/>
            <pc:sldMk cId="1252826214" sldId="1711"/>
            <ac:picMk id="8" creationId="{71937F58-B9F0-481F-8FE4-CB6A95D57416}"/>
          </ac:picMkLst>
        </pc:picChg>
        <pc:picChg chg="add mod modCrop">
          <ac:chgData name="Aurelien Domont" userId="6da7715ce44349b3" providerId="LiveId" clId="{AFF9B0D5-CA7D-40FB-964A-23276295459E}" dt="2021-07-06T05:24:01.143" v="6896" actId="1038"/>
          <ac:picMkLst>
            <pc:docMk/>
            <pc:sldMk cId="1252826214" sldId="1711"/>
            <ac:picMk id="10" creationId="{A0DB830C-4F68-4EF8-8A4E-2C8D67FD264F}"/>
          </ac:picMkLst>
        </pc:picChg>
        <pc:picChg chg="add del">
          <ac:chgData name="Aurelien Domont" userId="6da7715ce44349b3" providerId="LiveId" clId="{AFF9B0D5-CA7D-40FB-964A-23276295459E}" dt="2021-07-06T05:20:10.955" v="6827" actId="478"/>
          <ac:picMkLst>
            <pc:docMk/>
            <pc:sldMk cId="1252826214" sldId="1711"/>
            <ac:picMk id="14" creationId="{0878B37C-E951-4771-8BB6-E3C405EE0F91}"/>
          </ac:picMkLst>
        </pc:picChg>
        <pc:picChg chg="add del mod">
          <ac:chgData name="Aurelien Domont" userId="6da7715ce44349b3" providerId="LiveId" clId="{AFF9B0D5-CA7D-40FB-964A-23276295459E}" dt="2021-07-06T05:27:26.121" v="6974" actId="478"/>
          <ac:picMkLst>
            <pc:docMk/>
            <pc:sldMk cId="1252826214" sldId="1711"/>
            <ac:picMk id="17" creationId="{745481CC-4F1B-4397-91A1-375C76629B98}"/>
          </ac:picMkLst>
        </pc:picChg>
        <pc:picChg chg="add del mod">
          <ac:chgData name="Aurelien Domont" userId="6da7715ce44349b3" providerId="LiveId" clId="{AFF9B0D5-CA7D-40FB-964A-23276295459E}" dt="2021-07-06T05:27:27.943" v="6975" actId="478"/>
          <ac:picMkLst>
            <pc:docMk/>
            <pc:sldMk cId="1252826214" sldId="1711"/>
            <ac:picMk id="19" creationId="{B65134DD-5D76-4F71-AA28-B9BABC8A51A0}"/>
          </ac:picMkLst>
        </pc:picChg>
        <pc:picChg chg="add del mod">
          <ac:chgData name="Aurelien Domont" userId="6da7715ce44349b3" providerId="LiveId" clId="{AFF9B0D5-CA7D-40FB-964A-23276295459E}" dt="2021-07-06T05:27:23.285" v="6973" actId="478"/>
          <ac:picMkLst>
            <pc:docMk/>
            <pc:sldMk cId="1252826214" sldId="1711"/>
            <ac:picMk id="21" creationId="{982BB652-0027-477D-8558-0FABC8A1E3A7}"/>
          </ac:picMkLst>
        </pc:picChg>
        <pc:picChg chg="add del mod">
          <ac:chgData name="Aurelien Domont" userId="6da7715ce44349b3" providerId="LiveId" clId="{AFF9B0D5-CA7D-40FB-964A-23276295459E}" dt="2021-07-06T05:28:04.591" v="6977" actId="478"/>
          <ac:picMkLst>
            <pc:docMk/>
            <pc:sldMk cId="1252826214" sldId="1711"/>
            <ac:picMk id="23" creationId="{BC5CCD4E-9C88-43D4-8202-2C712891DE75}"/>
          </ac:picMkLst>
        </pc:picChg>
        <pc:picChg chg="add del mod">
          <ac:chgData name="Aurelien Domont" userId="6da7715ce44349b3" providerId="LiveId" clId="{AFF9B0D5-CA7D-40FB-964A-23276295459E}" dt="2021-07-06T05:27:23.285" v="6973" actId="478"/>
          <ac:picMkLst>
            <pc:docMk/>
            <pc:sldMk cId="1252826214" sldId="1711"/>
            <ac:picMk id="46" creationId="{62503EAF-1CD5-4831-B10E-F8ECE226C14A}"/>
          </ac:picMkLst>
        </pc:picChg>
        <pc:picChg chg="add mod modCrop">
          <ac:chgData name="Aurelien Domont" userId="6da7715ce44349b3" providerId="LiveId" clId="{AFF9B0D5-CA7D-40FB-964A-23276295459E}" dt="2021-07-06T05:26:44.846" v="6961" actId="1036"/>
          <ac:picMkLst>
            <pc:docMk/>
            <pc:sldMk cId="1252826214" sldId="1711"/>
            <ac:picMk id="320" creationId="{CA5C0783-F7AB-4755-937B-E03E5BC4DC33}"/>
          </ac:picMkLst>
        </pc:picChg>
      </pc:sldChg>
      <pc:sldChg chg="addSp delSp modSp mod">
        <pc:chgData name="Aurelien Domont" userId="6da7715ce44349b3" providerId="LiveId" clId="{AFF9B0D5-CA7D-40FB-964A-23276295459E}" dt="2021-07-06T01:17:27.472" v="5738" actId="20577"/>
        <pc:sldMkLst>
          <pc:docMk/>
          <pc:sldMk cId="317099162" sldId="1749"/>
        </pc:sldMkLst>
        <pc:spChg chg="add mod">
          <ac:chgData name="Aurelien Domont" userId="6da7715ce44349b3" providerId="LiveId" clId="{AFF9B0D5-CA7D-40FB-964A-23276295459E}" dt="2021-07-02T05:59:43.413" v="2254" actId="1035"/>
          <ac:spMkLst>
            <pc:docMk/>
            <pc:sldMk cId="317099162" sldId="1749"/>
            <ac:spMk id="3" creationId="{769F5309-76A5-4DB3-A4CB-2C8F568AB01D}"/>
          </ac:spMkLst>
        </pc:spChg>
        <pc:spChg chg="add mod">
          <ac:chgData name="Aurelien Domont" userId="6da7715ce44349b3" providerId="LiveId" clId="{AFF9B0D5-CA7D-40FB-964A-23276295459E}" dt="2021-06-30T06:09:13.186" v="129"/>
          <ac:spMkLst>
            <pc:docMk/>
            <pc:sldMk cId="317099162" sldId="1749"/>
            <ac:spMk id="5" creationId="{3AA7B8AD-E6F9-4E25-A3A4-71D021032612}"/>
          </ac:spMkLst>
        </pc:spChg>
        <pc:spChg chg="add del mod">
          <ac:chgData name="Aurelien Domont" userId="6da7715ce44349b3" providerId="LiveId" clId="{AFF9B0D5-CA7D-40FB-964A-23276295459E}" dt="2021-07-02T05:50:16.562" v="1723" actId="478"/>
          <ac:spMkLst>
            <pc:docMk/>
            <pc:sldMk cId="317099162" sldId="1749"/>
            <ac:spMk id="6" creationId="{38F44941-AA59-4703-B58D-530066FB98C2}"/>
          </ac:spMkLst>
        </pc:spChg>
        <pc:spChg chg="del mod topLvl">
          <ac:chgData name="Aurelien Domont" userId="6da7715ce44349b3" providerId="LiveId" clId="{AFF9B0D5-CA7D-40FB-964A-23276295459E}" dt="2021-06-30T06:17:13.443" v="209" actId="478"/>
          <ac:spMkLst>
            <pc:docMk/>
            <pc:sldMk cId="317099162" sldId="1749"/>
            <ac:spMk id="7" creationId="{8A32D480-0877-4E79-9110-6B83080AC953}"/>
          </ac:spMkLst>
        </pc:spChg>
        <pc:spChg chg="del mod topLvl">
          <ac:chgData name="Aurelien Domont" userId="6da7715ce44349b3" providerId="LiveId" clId="{AFF9B0D5-CA7D-40FB-964A-23276295459E}" dt="2021-06-30T06:17:17.246" v="210" actId="478"/>
          <ac:spMkLst>
            <pc:docMk/>
            <pc:sldMk cId="317099162" sldId="1749"/>
            <ac:spMk id="8" creationId="{46918508-1A75-44FD-8B01-FDA0FF18E025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9" creationId="{1D174EE8-1E55-4025-BFC8-FE6A257BF90E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10" creationId="{7C0AAF82-128F-47B7-ABC2-AA30B23F33D1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11" creationId="{E3044FE5-1B15-42EB-B21C-60066BE4A2F4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12" creationId="{32589ACC-367A-4FC4-AF85-D207DC2C0B91}"/>
          </ac:spMkLst>
        </pc:spChg>
        <pc:spChg chg="del mod">
          <ac:chgData name="Aurelien Domont" userId="6da7715ce44349b3" providerId="LiveId" clId="{AFF9B0D5-CA7D-40FB-964A-23276295459E}" dt="2021-06-30T06:46:52.584" v="1136" actId="478"/>
          <ac:spMkLst>
            <pc:docMk/>
            <pc:sldMk cId="317099162" sldId="1749"/>
            <ac:spMk id="14" creationId="{58BC295C-D6CC-4682-B176-A5677EB177D0}"/>
          </ac:spMkLst>
        </pc:spChg>
        <pc:spChg chg="mod">
          <ac:chgData name="Aurelien Domont" userId="6da7715ce44349b3" providerId="LiveId" clId="{AFF9B0D5-CA7D-40FB-964A-23276295459E}" dt="2021-07-02T06:46:06.630" v="3985" actId="404"/>
          <ac:spMkLst>
            <pc:docMk/>
            <pc:sldMk cId="317099162" sldId="1749"/>
            <ac:spMk id="16" creationId="{6C2BB713-9637-4B9B-938F-E9768876782A}"/>
          </ac:spMkLst>
        </pc:spChg>
        <pc:spChg chg="add del mod">
          <ac:chgData name="Aurelien Domont" userId="6da7715ce44349b3" providerId="LiveId" clId="{AFF9B0D5-CA7D-40FB-964A-23276295459E}" dt="2021-06-30T06:24:53.540" v="289" actId="478"/>
          <ac:spMkLst>
            <pc:docMk/>
            <pc:sldMk cId="317099162" sldId="1749"/>
            <ac:spMk id="17" creationId="{D0004D55-5570-420F-BBFC-2C286064638E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18" creationId="{6A4FD3FA-039A-4E8B-872F-7E94A478556E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19" creationId="{B01C17D3-8B6E-4877-B7C4-A6B064E2BED5}"/>
          </ac:spMkLst>
        </pc:spChg>
        <pc:spChg chg="add mod">
          <ac:chgData name="Aurelien Domont" userId="6da7715ce44349b3" providerId="LiveId" clId="{AFF9B0D5-CA7D-40FB-964A-23276295459E}" dt="2021-06-30T06:53:25.942" v="1302" actId="1038"/>
          <ac:spMkLst>
            <pc:docMk/>
            <pc:sldMk cId="317099162" sldId="1749"/>
            <ac:spMk id="20" creationId="{98DD0F28-7422-4888-8C0E-8FB3B2B1F231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21" creationId="{DC6B8FF9-CDA5-48AE-8294-E77982A8E227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22" creationId="{F8D0F352-FDC6-4412-B206-9B2271E69C51}"/>
          </ac:spMkLst>
        </pc:spChg>
        <pc:spChg chg="add mod">
          <ac:chgData name="Aurelien Domont" userId="6da7715ce44349b3" providerId="LiveId" clId="{AFF9B0D5-CA7D-40FB-964A-23276295459E}" dt="2021-06-30T06:53:45.206" v="1306" actId="20577"/>
          <ac:spMkLst>
            <pc:docMk/>
            <pc:sldMk cId="317099162" sldId="1749"/>
            <ac:spMk id="23" creationId="{8DAD1C28-1E93-42EA-91B9-6825760F69DF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24" creationId="{53D7E43D-3C96-4369-B11A-91EC34AEB43A}"/>
          </ac:spMkLst>
        </pc:spChg>
        <pc:spChg chg="add mod">
          <ac:chgData name="Aurelien Domont" userId="6da7715ce44349b3" providerId="LiveId" clId="{AFF9B0D5-CA7D-40FB-964A-23276295459E}" dt="2021-06-30T07:01:43.646" v="1592" actId="20577"/>
          <ac:spMkLst>
            <pc:docMk/>
            <pc:sldMk cId="317099162" sldId="1749"/>
            <ac:spMk id="25" creationId="{5ADD7AB3-5C39-4CAE-8D5E-9950082CCB96}"/>
          </ac:spMkLst>
        </pc:spChg>
        <pc:spChg chg="add mod">
          <ac:chgData name="Aurelien Domont" userId="6da7715ce44349b3" providerId="LiveId" clId="{AFF9B0D5-CA7D-40FB-964A-23276295459E}" dt="2021-06-30T06:57:18.107" v="1411" actId="20577"/>
          <ac:spMkLst>
            <pc:docMk/>
            <pc:sldMk cId="317099162" sldId="1749"/>
            <ac:spMk id="26" creationId="{626A743B-E42B-485A-BA62-DB037C0E1E9F}"/>
          </ac:spMkLst>
        </pc:spChg>
        <pc:spChg chg="add mod">
          <ac:chgData name="Aurelien Domont" userId="6da7715ce44349b3" providerId="LiveId" clId="{AFF9B0D5-CA7D-40FB-964A-23276295459E}" dt="2021-07-02T05:54:34.534" v="1907" actId="108"/>
          <ac:spMkLst>
            <pc:docMk/>
            <pc:sldMk cId="317099162" sldId="1749"/>
            <ac:spMk id="27" creationId="{37CA4A46-562F-4AE0-B6A4-943D1FEC8097}"/>
          </ac:spMkLst>
        </pc:spChg>
        <pc:spChg chg="add mod">
          <ac:chgData name="Aurelien Domont" userId="6da7715ce44349b3" providerId="LiveId" clId="{AFF9B0D5-CA7D-40FB-964A-23276295459E}" dt="2021-06-30T06:56:28.477" v="1408" actId="20577"/>
          <ac:spMkLst>
            <pc:docMk/>
            <pc:sldMk cId="317099162" sldId="1749"/>
            <ac:spMk id="28" creationId="{8B079231-0813-4E09-8181-D62AEC52E2CC}"/>
          </ac:spMkLst>
        </pc:spChg>
        <pc:spChg chg="add mod">
          <ac:chgData name="Aurelien Domont" userId="6da7715ce44349b3" providerId="LiveId" clId="{AFF9B0D5-CA7D-40FB-964A-23276295459E}" dt="2021-07-02T05:59:47.445" v="2264" actId="1035"/>
          <ac:spMkLst>
            <pc:docMk/>
            <pc:sldMk cId="317099162" sldId="1749"/>
            <ac:spMk id="29" creationId="{F1ABDDA1-7406-4A3A-8D68-EEEA79F76892}"/>
          </ac:spMkLst>
        </pc:spChg>
        <pc:spChg chg="add mod">
          <ac:chgData name="Aurelien Domont" userId="6da7715ce44349b3" providerId="LiveId" clId="{AFF9B0D5-CA7D-40FB-964A-23276295459E}" dt="2021-07-06T01:17:27.472" v="5738" actId="20577"/>
          <ac:spMkLst>
            <pc:docMk/>
            <pc:sldMk cId="317099162" sldId="1749"/>
            <ac:spMk id="30" creationId="{A3A42F54-587B-4C2E-93F0-14AB9DDD5309}"/>
          </ac:spMkLst>
        </pc:spChg>
        <pc:spChg chg="add del mod">
          <ac:chgData name="Aurelien Domont" userId="6da7715ce44349b3" providerId="LiveId" clId="{AFF9B0D5-CA7D-40FB-964A-23276295459E}" dt="2021-07-02T05:50:16.562" v="1723" actId="478"/>
          <ac:spMkLst>
            <pc:docMk/>
            <pc:sldMk cId="317099162" sldId="1749"/>
            <ac:spMk id="31" creationId="{2F376F92-8F4F-4920-9588-50D769078EF1}"/>
          </ac:spMkLst>
        </pc:spChg>
        <pc:spChg chg="add mod">
          <ac:chgData name="Aurelien Domont" userId="6da7715ce44349b3" providerId="LiveId" clId="{AFF9B0D5-CA7D-40FB-964A-23276295459E}" dt="2021-07-06T01:16:36.661" v="5705" actId="20577"/>
          <ac:spMkLst>
            <pc:docMk/>
            <pc:sldMk cId="317099162" sldId="1749"/>
            <ac:spMk id="32" creationId="{EE6F0BF2-DC75-49E9-A69A-A91D25E3574E}"/>
          </ac:spMkLst>
        </pc:spChg>
        <pc:grpChg chg="add del mod">
          <ac:chgData name="Aurelien Domont" userId="6da7715ce44349b3" providerId="LiveId" clId="{AFF9B0D5-CA7D-40FB-964A-23276295459E}" dt="2021-06-30T06:17:10.273" v="208" actId="165"/>
          <ac:grpSpMkLst>
            <pc:docMk/>
            <pc:sldMk cId="317099162" sldId="1749"/>
            <ac:grpSpMk id="2" creationId="{910845D7-6328-4DD2-ADE3-005E7DE306DE}"/>
          </ac:grpSpMkLst>
        </pc:grpChg>
        <pc:grpChg chg="add mod">
          <ac:chgData name="Aurelien Domont" userId="6da7715ce44349b3" providerId="LiveId" clId="{AFF9B0D5-CA7D-40FB-964A-23276295459E}" dt="2021-06-30T07:01:33.272" v="1590" actId="1076"/>
          <ac:grpSpMkLst>
            <pc:docMk/>
            <pc:sldMk cId="317099162" sldId="1749"/>
            <ac:grpSpMk id="2" creationId="{CA5BE65C-4544-4880-A061-4D320C41F338}"/>
          </ac:grpSpMkLst>
        </pc:grpChg>
        <pc:grpChg chg="add del mod">
          <ac:chgData name="Aurelien Domont" userId="6da7715ce44349b3" providerId="LiveId" clId="{AFF9B0D5-CA7D-40FB-964A-23276295459E}" dt="2021-06-30T06:12:39.225" v="160" actId="165"/>
          <ac:grpSpMkLst>
            <pc:docMk/>
            <pc:sldMk cId="317099162" sldId="1749"/>
            <ac:grpSpMk id="6" creationId="{C92777F9-4B8D-47A8-BE0A-58672808E77E}"/>
          </ac:grpSpMkLst>
        </pc:grpChg>
        <pc:picChg chg="add del mod">
          <ac:chgData name="Aurelien Domont" userId="6da7715ce44349b3" providerId="LiveId" clId="{AFF9B0D5-CA7D-40FB-964A-23276295459E}" dt="2021-06-30T06:24:54.181" v="290" actId="478"/>
          <ac:picMkLst>
            <pc:docMk/>
            <pc:sldMk cId="317099162" sldId="1749"/>
            <ac:picMk id="4" creationId="{7287037B-4A3D-4DBB-9F70-BEF5F5A84640}"/>
          </ac:picMkLst>
        </pc:picChg>
        <pc:picChg chg="add del mod topLvl">
          <ac:chgData name="Aurelien Domont" userId="6da7715ce44349b3" providerId="LiveId" clId="{AFF9B0D5-CA7D-40FB-964A-23276295459E}" dt="2021-06-30T06:24:54.931" v="291" actId="478"/>
          <ac:picMkLst>
            <pc:docMk/>
            <pc:sldMk cId="317099162" sldId="1749"/>
            <ac:picMk id="15" creationId="{F83CBCF3-4B58-4A3F-B9ED-87BE026B0DA1}"/>
          </ac:picMkLst>
        </pc:picChg>
      </pc:sldChg>
      <pc:sldChg chg="add">
        <pc:chgData name="Aurelien Domont" userId="6da7715ce44349b3" providerId="LiveId" clId="{AFF9B0D5-CA7D-40FB-964A-23276295459E}" dt="2021-07-06T04:20:04.085" v="6369"/>
        <pc:sldMkLst>
          <pc:docMk/>
          <pc:sldMk cId="3938337455" sldId="2034"/>
        </pc:sldMkLst>
      </pc:sldChg>
      <pc:sldChg chg="addSp delSp modSp add mod">
        <pc:chgData name="Aurelien Domont" userId="6da7715ce44349b3" providerId="LiveId" clId="{AFF9B0D5-CA7D-40FB-964A-23276295459E}" dt="2021-07-06T04:25:25.008" v="6415" actId="1037"/>
        <pc:sldMkLst>
          <pc:docMk/>
          <pc:sldMk cId="1926619926" sldId="2147"/>
        </pc:sldMkLst>
        <pc:spChg chg="mod">
          <ac:chgData name="Aurelien Domont" userId="6da7715ce44349b3" providerId="LiveId" clId="{AFF9B0D5-CA7D-40FB-964A-23276295459E}" dt="2021-07-06T04:25:25.008" v="6415" actId="1037"/>
          <ac:spMkLst>
            <pc:docMk/>
            <pc:sldMk cId="1926619926" sldId="2147"/>
            <ac:spMk id="3" creationId="{E7801C33-1882-44AC-8209-E2ACFFBF177C}"/>
          </ac:spMkLst>
        </pc:spChg>
        <pc:picChg chg="del mod">
          <ac:chgData name="Aurelien Domont" userId="6da7715ce44349b3" providerId="LiveId" clId="{AFF9B0D5-CA7D-40FB-964A-23276295459E}" dt="2021-07-06T04:23:48.250" v="6374" actId="478"/>
          <ac:picMkLst>
            <pc:docMk/>
            <pc:sldMk cId="1926619926" sldId="2147"/>
            <ac:picMk id="5" creationId="{7283AD49-C820-429E-A8E8-5A7367D6DC11}"/>
          </ac:picMkLst>
        </pc:picChg>
        <pc:picChg chg="add del mod ord">
          <ac:chgData name="Aurelien Domont" userId="6da7715ce44349b3" providerId="LiveId" clId="{AFF9B0D5-CA7D-40FB-964A-23276295459E}" dt="2021-07-06T04:24:17.620" v="6388" actId="22"/>
          <ac:picMkLst>
            <pc:docMk/>
            <pc:sldMk cId="1926619926" sldId="2147"/>
            <ac:picMk id="9" creationId="{DF4B9174-4A5D-4046-82AF-63AA7738E6A2}"/>
          </ac:picMkLst>
        </pc:picChg>
        <pc:picChg chg="add mod ord">
          <ac:chgData name="Aurelien Domont" userId="6da7715ce44349b3" providerId="LiveId" clId="{AFF9B0D5-CA7D-40FB-964A-23276295459E}" dt="2021-07-06T04:25:16.233" v="6398" actId="1076"/>
          <ac:picMkLst>
            <pc:docMk/>
            <pc:sldMk cId="1926619926" sldId="2147"/>
            <ac:picMk id="11" creationId="{5D58A1A0-06A2-4FAC-A5EA-99253435D8B8}"/>
          </ac:picMkLst>
        </pc:picChg>
      </pc:sldChg>
      <pc:sldChg chg="del">
        <pc:chgData name="Aurelien Domont" userId="6da7715ce44349b3" providerId="LiveId" clId="{AFF9B0D5-CA7D-40FB-964A-23276295459E}" dt="2021-07-06T03:47:14.962" v="6357" actId="47"/>
        <pc:sldMkLst>
          <pc:docMk/>
          <pc:sldMk cId="1289725493" sldId="2149"/>
        </pc:sldMkLst>
      </pc:sldChg>
      <pc:sldChg chg="del">
        <pc:chgData name="Aurelien Domont" userId="6da7715ce44349b3" providerId="LiveId" clId="{AFF9B0D5-CA7D-40FB-964A-23276295459E}" dt="2021-07-02T08:38:32.427" v="5616" actId="47"/>
        <pc:sldMkLst>
          <pc:docMk/>
          <pc:sldMk cId="3004254457" sldId="2150"/>
        </pc:sldMkLst>
      </pc:sldChg>
      <pc:sldChg chg="delSp modSp add del mod">
        <pc:chgData name="Aurelien Domont" userId="6da7715ce44349b3" providerId="LiveId" clId="{AFF9B0D5-CA7D-40FB-964A-23276295459E}" dt="2021-07-02T08:38:32.427" v="5616" actId="47"/>
        <pc:sldMkLst>
          <pc:docMk/>
          <pc:sldMk cId="1534089223" sldId="2151"/>
        </pc:sldMkLst>
        <pc:spChg chg="mod">
          <ac:chgData name="Aurelien Domont" userId="6da7715ce44349b3" providerId="LiveId" clId="{AFF9B0D5-CA7D-40FB-964A-23276295459E}" dt="2021-06-30T06:01:18.933" v="127" actId="20577"/>
          <ac:spMkLst>
            <pc:docMk/>
            <pc:sldMk cId="1534089223" sldId="2151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2" creationId="{F4E53BA9-9AB9-48F0-A73B-05C6322E3392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3" creationId="{CDADC7B4-4779-49A3-9FCF-3DC29EF44738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4" creationId="{30185B92-2394-4D45-8987-284B6B741CF6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6" creationId="{AAC5EFF7-9581-4CFA-9007-0B2D138DC929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7" creationId="{97849EAC-234E-45EF-B196-78699AC97FA2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8" creationId="{3CA2023D-F310-415B-9867-7BDE343D904B}"/>
          </ac:spMkLst>
        </pc:spChg>
        <pc:cxnChg chg="del">
          <ac:chgData name="Aurelien Domont" userId="6da7715ce44349b3" providerId="LiveId" clId="{AFF9B0D5-CA7D-40FB-964A-23276295459E}" dt="2021-06-30T06:01:27.551" v="128" actId="478"/>
          <ac:cxnSpMkLst>
            <pc:docMk/>
            <pc:sldMk cId="1534089223" sldId="2151"/>
            <ac:cxnSpMk id="35" creationId="{AC48342A-109D-4373-B3D7-98BE0267DC04}"/>
          </ac:cxnSpMkLst>
        </pc:cxnChg>
        <pc:cxnChg chg="del">
          <ac:chgData name="Aurelien Domont" userId="6da7715ce44349b3" providerId="LiveId" clId="{AFF9B0D5-CA7D-40FB-964A-23276295459E}" dt="2021-06-30T06:01:27.551" v="128" actId="478"/>
          <ac:cxnSpMkLst>
            <pc:docMk/>
            <pc:sldMk cId="1534089223" sldId="2151"/>
            <ac:cxnSpMk id="39" creationId="{02DB1088-3FCD-49FB-A3C3-A1CEBA001978}"/>
          </ac:cxnSpMkLst>
        </pc:cxnChg>
      </pc:sldChg>
      <pc:sldChg chg="addSp delSp add del mod">
        <pc:chgData name="Aurelien Domont" userId="6da7715ce44349b3" providerId="LiveId" clId="{AFF9B0D5-CA7D-40FB-964A-23276295459E}" dt="2021-07-02T08:38:32.427" v="5616" actId="47"/>
        <pc:sldMkLst>
          <pc:docMk/>
          <pc:sldMk cId="499002002" sldId="2152"/>
        </pc:sldMkLst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9" creationId="{1D174EE8-1E55-4025-BFC8-FE6A257BF90E}"/>
          </ac:spMkLst>
        </pc:spChg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10" creationId="{7C0AAF82-128F-47B7-ABC2-AA30B23F33D1}"/>
          </ac:spMkLst>
        </pc:spChg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11" creationId="{E3044FE5-1B15-42EB-B21C-60066BE4A2F4}"/>
          </ac:spMkLst>
        </pc:spChg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12" creationId="{32589ACC-367A-4FC4-AF85-D207DC2C0B91}"/>
          </ac:spMkLst>
        </pc:spChg>
        <pc:picChg chg="add del">
          <ac:chgData name="Aurelien Domont" userId="6da7715ce44349b3" providerId="LiveId" clId="{AFF9B0D5-CA7D-40FB-964A-23276295459E}" dt="2021-06-30T06:22:40.342" v="287" actId="478"/>
          <ac:picMkLst>
            <pc:docMk/>
            <pc:sldMk cId="499002002" sldId="2152"/>
            <ac:picMk id="4" creationId="{7287037B-4A3D-4DBB-9F70-BEF5F5A84640}"/>
          </ac:picMkLst>
        </pc:picChg>
        <pc:picChg chg="add del">
          <ac:chgData name="Aurelien Domont" userId="6da7715ce44349b3" providerId="LiveId" clId="{AFF9B0D5-CA7D-40FB-964A-23276295459E}" dt="2021-06-30T06:22:40.342" v="287" actId="478"/>
          <ac:picMkLst>
            <pc:docMk/>
            <pc:sldMk cId="499002002" sldId="2152"/>
            <ac:picMk id="15" creationId="{F83CBCF3-4B58-4A3F-B9ED-87BE026B0DA1}"/>
          </ac:picMkLst>
        </pc:picChg>
      </pc:sldChg>
      <pc:sldChg chg="addSp delSp modSp new del mod">
        <pc:chgData name="Aurelien Domont" userId="6da7715ce44349b3" providerId="LiveId" clId="{AFF9B0D5-CA7D-40FB-964A-23276295459E}" dt="2021-06-30T06:18:25.702" v="249" actId="47"/>
        <pc:sldMkLst>
          <pc:docMk/>
          <pc:sldMk cId="1079529072" sldId="2152"/>
        </pc:sldMkLst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3" creationId="{CF43C6FA-0591-4BE9-A5C4-7786E002FF59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4" creationId="{0E548A46-549E-4D17-91B0-5979C8C470E4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5" creationId="{C281BB53-5F57-4B97-BB10-408D3894BC41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6" creationId="{599E4546-6399-45FC-81A4-133A2AA6F9F3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7" creationId="{CAB1C18A-C845-4A0D-94BE-31ADBE5D6B09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8" creationId="{D48F98B2-5CA6-4787-A2BD-26448B46AFE7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9" creationId="{28A506C0-264A-44BE-B9FF-32F419364B7F}"/>
          </ac:spMkLst>
        </pc:spChg>
        <pc:grpChg chg="add del mod">
          <ac:chgData name="Aurelien Domont" userId="6da7715ce44349b3" providerId="LiveId" clId="{AFF9B0D5-CA7D-40FB-964A-23276295459E}" dt="2021-06-30T06:15:58.356" v="198" actId="165"/>
          <ac:grpSpMkLst>
            <pc:docMk/>
            <pc:sldMk cId="1079529072" sldId="2152"/>
            <ac:grpSpMk id="11" creationId="{DAAE80CC-1F10-4441-80ED-A8C953A8E66E}"/>
          </ac:grpSpMkLst>
        </pc:grpChg>
        <pc:picChg chg="add mod topLvl">
          <ac:chgData name="Aurelien Domont" userId="6da7715ce44349b3" providerId="LiveId" clId="{AFF9B0D5-CA7D-40FB-964A-23276295459E}" dt="2021-06-30T06:16:11.011" v="199" actId="14861"/>
          <ac:picMkLst>
            <pc:docMk/>
            <pc:sldMk cId="1079529072" sldId="2152"/>
            <ac:picMk id="10" creationId="{20DA1ADD-5604-4967-B919-F736237C278D}"/>
          </ac:picMkLst>
        </pc:picChg>
      </pc:sldChg>
      <pc:sldChg chg="add del">
        <pc:chgData name="Aurelien Domont" userId="6da7715ce44349b3" providerId="LiveId" clId="{AFF9B0D5-CA7D-40FB-964A-23276295459E}" dt="2021-06-30T06:19:04.001" v="266"/>
        <pc:sldMkLst>
          <pc:docMk/>
          <pc:sldMk cId="1174277358" sldId="2152"/>
        </pc:sldMkLst>
      </pc:sldChg>
      <pc:sldChg chg="add del">
        <pc:chgData name="Aurelien Domont" userId="6da7715ce44349b3" providerId="LiveId" clId="{AFF9B0D5-CA7D-40FB-964A-23276295459E}" dt="2021-06-30T06:20:29.485" v="269"/>
        <pc:sldMkLst>
          <pc:docMk/>
          <pc:sldMk cId="1738739629" sldId="2152"/>
        </pc:sldMkLst>
      </pc:sldChg>
      <pc:sldChg chg="addSp delSp modSp new del">
        <pc:chgData name="Aurelien Domont" userId="6da7715ce44349b3" providerId="LiveId" clId="{AFF9B0D5-CA7D-40FB-964A-23276295459E}" dt="2021-07-02T08:38:32.427" v="5616" actId="47"/>
        <pc:sldMkLst>
          <pc:docMk/>
          <pc:sldMk cId="212722849" sldId="2153"/>
        </pc:sldMkLst>
        <pc:spChg chg="add del mod">
          <ac:chgData name="Aurelien Domont" userId="6da7715ce44349b3" providerId="LiveId" clId="{AFF9B0D5-CA7D-40FB-964A-23276295459E}" dt="2021-06-30T06:22:40.557" v="288"/>
          <ac:spMkLst>
            <pc:docMk/>
            <pc:sldMk cId="212722849" sldId="2153"/>
            <ac:spMk id="3" creationId="{9FE483B3-EF45-4406-A47C-3268F0637E49}"/>
          </ac:spMkLst>
        </pc:spChg>
        <pc:picChg chg="add del mod">
          <ac:chgData name="Aurelien Domont" userId="6da7715ce44349b3" providerId="LiveId" clId="{AFF9B0D5-CA7D-40FB-964A-23276295459E}" dt="2021-06-30T06:22:40.557" v="288"/>
          <ac:picMkLst>
            <pc:docMk/>
            <pc:sldMk cId="212722849" sldId="2153"/>
            <ac:picMk id="4" creationId="{D20ED5B9-CE25-466F-BDC9-FC1CAD9807ED}"/>
          </ac:picMkLst>
        </pc:pic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2788949543" sldId="2154"/>
        </pc:sldMkLst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2076438646" sldId="2155"/>
        </pc:sldMkLst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311794488" sldId="2156"/>
        </pc:sldMkLst>
      </pc:sldChg>
      <pc:sldChg chg="addSp modSp add mod">
        <pc:chgData name="Aurelien Domont" userId="6da7715ce44349b3" providerId="LiveId" clId="{AFF9B0D5-CA7D-40FB-964A-23276295459E}" dt="2021-07-06T01:44:54.338" v="5972" actId="20577"/>
        <pc:sldMkLst>
          <pc:docMk/>
          <pc:sldMk cId="1479295029" sldId="2156"/>
        </pc:sldMkLst>
        <pc:spChg chg="mod">
          <ac:chgData name="Aurelien Domont" userId="6da7715ce44349b3" providerId="LiveId" clId="{AFF9B0D5-CA7D-40FB-964A-23276295459E}" dt="2021-07-06T01:38:39.396" v="5929"/>
          <ac:spMkLst>
            <pc:docMk/>
            <pc:sldMk cId="1479295029" sldId="2156"/>
            <ac:spMk id="21" creationId="{5441459A-A405-4F28-B7B1-512713FD1633}"/>
          </ac:spMkLst>
        </pc:spChg>
        <pc:spChg chg="mod">
          <ac:chgData name="Aurelien Domont" userId="6da7715ce44349b3" providerId="LiveId" clId="{AFF9B0D5-CA7D-40FB-964A-23276295459E}" dt="2021-07-06T01:44:54.338" v="5972" actId="20577"/>
          <ac:spMkLst>
            <pc:docMk/>
            <pc:sldMk cId="1479295029" sldId="2156"/>
            <ac:spMk id="22" creationId="{454D4616-4639-4B6A-A655-40C58ADFB3C6}"/>
          </ac:spMkLst>
        </pc:spChg>
        <pc:grpChg chg="add mod">
          <ac:chgData name="Aurelien Domont" userId="6da7715ce44349b3" providerId="LiveId" clId="{AFF9B0D5-CA7D-40FB-964A-23276295459E}" dt="2021-07-06T01:39:03.235" v="5930" actId="14100"/>
          <ac:grpSpMkLst>
            <pc:docMk/>
            <pc:sldMk cId="1479295029" sldId="2156"/>
            <ac:grpSpMk id="20" creationId="{AA53E7B7-0597-4D1D-B927-D58550764C11}"/>
          </ac:grpSpMkLst>
        </pc:grpChg>
        <pc:cxnChg chg="mod">
          <ac:chgData name="Aurelien Domont" userId="6da7715ce44349b3" providerId="LiveId" clId="{AFF9B0D5-CA7D-40FB-964A-23276295459E}" dt="2021-07-06T01:38:39.396" v="5929"/>
          <ac:cxnSpMkLst>
            <pc:docMk/>
            <pc:sldMk cId="1479295029" sldId="2156"/>
            <ac:cxnSpMk id="36" creationId="{D42EC322-7D8B-4E26-8DC7-14CE03A7E755}"/>
          </ac:cxnSpMkLst>
        </pc:cxnChg>
        <pc:cxnChg chg="mod">
          <ac:chgData name="Aurelien Domont" userId="6da7715ce44349b3" providerId="LiveId" clId="{AFF9B0D5-CA7D-40FB-964A-23276295459E}" dt="2021-07-06T01:38:39.396" v="5929"/>
          <ac:cxnSpMkLst>
            <pc:docMk/>
            <pc:sldMk cId="1479295029" sldId="2156"/>
            <ac:cxnSpMk id="37" creationId="{456DA9CA-DF33-4E58-86D2-7C5E7BC19849}"/>
          </ac:cxnSpMkLst>
        </pc:cxn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869144979" sldId="2157"/>
        </pc:sldMkLst>
      </pc:sldChg>
      <pc:sldChg chg="modSp add del mod">
        <pc:chgData name="Aurelien Domont" userId="6da7715ce44349b3" providerId="LiveId" clId="{AFF9B0D5-CA7D-40FB-964A-23276295459E}" dt="2021-07-02T08:38:32.427" v="5616" actId="47"/>
        <pc:sldMkLst>
          <pc:docMk/>
          <pc:sldMk cId="2444710519" sldId="2158"/>
        </pc:sldMkLst>
        <pc:spChg chg="mod">
          <ac:chgData name="Aurelien Domont" userId="6da7715ce44349b3" providerId="LiveId" clId="{AFF9B0D5-CA7D-40FB-964A-23276295459E}" dt="2021-06-30T07:04:08.098" v="1631" actId="20577"/>
          <ac:spMkLst>
            <pc:docMk/>
            <pc:sldMk cId="2444710519" sldId="2158"/>
            <ac:spMk id="16" creationId="{6C2BB713-9637-4B9B-938F-E9768876782A}"/>
          </ac:spMkLst>
        </pc:sp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4165044782" sldId="2159"/>
        </pc:sldMkLst>
      </pc:sldChg>
      <pc:sldChg chg="addSp delSp modSp add mod">
        <pc:chgData name="Aurelien Domont" userId="6da7715ce44349b3" providerId="LiveId" clId="{AFF9B0D5-CA7D-40FB-964A-23276295459E}" dt="2021-07-06T01:18:16.491" v="5767" actId="20577"/>
        <pc:sldMkLst>
          <pc:docMk/>
          <pc:sldMk cId="1073937120" sldId="2160"/>
        </pc:sldMkLst>
        <pc:spChg chg="del">
          <ac:chgData name="Aurelien Domont" userId="6da7715ce44349b3" providerId="LiveId" clId="{AFF9B0D5-CA7D-40FB-964A-23276295459E}" dt="2021-07-02T06:10:08.170" v="2541" actId="478"/>
          <ac:spMkLst>
            <pc:docMk/>
            <pc:sldMk cId="1073937120" sldId="2160"/>
            <ac:spMk id="3" creationId="{769F5309-76A5-4DB3-A4CB-2C8F568AB01D}"/>
          </ac:spMkLst>
        </pc:spChg>
        <pc:spChg chg="mod">
          <ac:chgData name="Aurelien Domont" userId="6da7715ce44349b3" providerId="LiveId" clId="{AFF9B0D5-CA7D-40FB-964A-23276295459E}" dt="2021-07-06T01:17:40.515" v="5739" actId="20577"/>
          <ac:spMkLst>
            <pc:docMk/>
            <pc:sldMk cId="1073937120" sldId="2160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7-02T06:10:08.170" v="2541" actId="478"/>
          <ac:spMkLst>
            <pc:docMk/>
            <pc:sldMk cId="1073937120" sldId="2160"/>
            <ac:spMk id="29" creationId="{F1ABDDA1-7406-4A3A-8D68-EEEA79F76892}"/>
          </ac:spMkLst>
        </pc:spChg>
        <pc:spChg chg="del">
          <ac:chgData name="Aurelien Domont" userId="6da7715ce44349b3" providerId="LiveId" clId="{AFF9B0D5-CA7D-40FB-964A-23276295459E}" dt="2021-07-02T06:10:10.938" v="2542" actId="478"/>
          <ac:spMkLst>
            <pc:docMk/>
            <pc:sldMk cId="1073937120" sldId="2160"/>
            <ac:spMk id="30" creationId="{A3A42F54-587B-4C2E-93F0-14AB9DDD5309}"/>
          </ac:spMkLst>
        </pc:spChg>
        <pc:spChg chg="add mod">
          <ac:chgData name="Aurelien Domont" userId="6da7715ce44349b3" providerId="LiveId" clId="{AFF9B0D5-CA7D-40FB-964A-23276295459E}" dt="2021-07-02T06:30:22.764" v="3328" actId="20577"/>
          <ac:spMkLst>
            <pc:docMk/>
            <pc:sldMk cId="1073937120" sldId="2160"/>
            <ac:spMk id="31" creationId="{80DB5C2A-CB4E-438A-8801-EB0869040D7B}"/>
          </ac:spMkLst>
        </pc:spChg>
        <pc:spChg chg="del">
          <ac:chgData name="Aurelien Domont" userId="6da7715ce44349b3" providerId="LiveId" clId="{AFF9B0D5-CA7D-40FB-964A-23276295459E}" dt="2021-07-02T06:10:08.170" v="2541" actId="478"/>
          <ac:spMkLst>
            <pc:docMk/>
            <pc:sldMk cId="1073937120" sldId="2160"/>
            <ac:spMk id="32" creationId="{EE6F0BF2-DC75-49E9-A69A-A91D25E3574E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3" creationId="{136CAC62-BD7A-4F23-AD5D-25BC893F5D06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4" creationId="{914710CC-43D0-40E4-BE38-8260007B17B9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5" creationId="{5DB60DCA-E97E-4CE1-BDE2-3F58612B673D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6" creationId="{F7C36D7A-1302-495A-B774-24A5AA9E12E9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7" creationId="{CD63437F-F6CC-47EB-B465-CD7C2718450E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8" creationId="{4C11F337-8F23-4C82-A3AC-E4155E5FF1FE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9" creationId="{7EFA4796-2F23-4499-ACA5-9E1468336A1C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40" creationId="{FB97BE99-9CA1-4E0F-8638-7537C1B51A33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41" creationId="{9659A567-73DB-4864-A2F9-26C32BFEA546}"/>
          </ac:spMkLst>
        </pc:spChg>
        <pc:spChg chg="add mod">
          <ac:chgData name="Aurelien Domont" userId="6da7715ce44349b3" providerId="LiveId" clId="{AFF9B0D5-CA7D-40FB-964A-23276295459E}" dt="2021-07-06T01:18:16.491" v="5767" actId="20577"/>
          <ac:spMkLst>
            <pc:docMk/>
            <pc:sldMk cId="1073937120" sldId="2160"/>
            <ac:spMk id="51" creationId="{7E31ED7F-C9D6-48C3-B1F3-EC53DABCBEF6}"/>
          </ac:spMkLst>
        </pc:spChg>
        <pc:grpChg chg="del">
          <ac:chgData name="Aurelien Domont" userId="6da7715ce44349b3" providerId="LiveId" clId="{AFF9B0D5-CA7D-40FB-964A-23276295459E}" dt="2021-07-02T06:10:08.170" v="2541" actId="478"/>
          <ac:grpSpMkLst>
            <pc:docMk/>
            <pc:sldMk cId="1073937120" sldId="2160"/>
            <ac:grpSpMk id="2" creationId="{CA5BE65C-4544-4880-A061-4D320C41F338}"/>
          </ac:grpSpMkLst>
        </pc:grpChg>
        <pc:grpChg chg="add mod">
          <ac:chgData name="Aurelien Domont" userId="6da7715ce44349b3" providerId="LiveId" clId="{AFF9B0D5-CA7D-40FB-964A-23276295459E}" dt="2021-07-06T01:18:08.553" v="5766" actId="1037"/>
          <ac:grpSpMkLst>
            <pc:docMk/>
            <pc:sldMk cId="1073937120" sldId="2160"/>
            <ac:grpSpMk id="4" creationId="{BD5EFEE5-15B1-4D1C-9CCE-C42E69F4F8C9}"/>
          </ac:grpSpMkLst>
        </pc:grp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2" creationId="{31343271-C45F-467D-AA4A-4124839CA5E3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3" creationId="{50C1E75A-6425-4A9C-ABD3-BAFCF30AE0FC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4" creationId="{4D510F8B-D1F6-41E2-B9FD-D038A30AFC37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5" creationId="{18EBC665-B8FB-4DFC-B5CA-68E5E082DD4B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6" creationId="{DDD7D522-A1EE-4899-BEA4-A073505F8E80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7" creationId="{7099CF69-2587-4723-BDDC-C4F6D33AB3D2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8" creationId="{0FDD7080-CF55-4944-B213-9A68EF10F7F7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9" creationId="{9DAC47A1-5848-4981-80B4-EFBBC45F2565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50" creationId="{E2840E44-AE81-4EC8-A8F2-69A333075A70}"/>
          </ac:picMkLst>
        </pc:picChg>
      </pc:sldChg>
      <pc:sldChg chg="addSp delSp modSp add mod">
        <pc:chgData name="Aurelien Domont" userId="6da7715ce44349b3" providerId="LiveId" clId="{AFF9B0D5-CA7D-40FB-964A-23276295459E}" dt="2021-07-02T06:46:32.604" v="3988" actId="20577"/>
        <pc:sldMkLst>
          <pc:docMk/>
          <pc:sldMk cId="62308209" sldId="2161"/>
        </pc:sldMkLst>
        <pc:spChg chg="mod">
          <ac:chgData name="Aurelien Domont" userId="6da7715ce44349b3" providerId="LiveId" clId="{AFF9B0D5-CA7D-40FB-964A-23276295459E}" dt="2021-07-02T06:46:32.604" v="3988" actId="20577"/>
          <ac:spMkLst>
            <pc:docMk/>
            <pc:sldMk cId="62308209" sldId="2161"/>
            <ac:spMk id="16" creationId="{6C2BB713-9637-4B9B-938F-E9768876782A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6" creationId="{CA2E0E1F-11E9-4031-AA6D-14025F775F77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7" creationId="{196C8140-C22A-4B59-9D0E-7679D6D9A3E8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8" creationId="{32A2BFE8-85B3-4148-83BF-A51A301F6F94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9" creationId="{812B20EB-8ED9-486C-BDD9-E5ECC282D969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30" creationId="{97DDA4B4-EF57-42BB-898E-C548E3D6622E}"/>
          </ac:spMkLst>
        </pc:spChg>
        <pc:spChg chg="mod">
          <ac:chgData name="Aurelien Domont" userId="6da7715ce44349b3" providerId="LiveId" clId="{AFF9B0D5-CA7D-40FB-964A-23276295459E}" dt="2021-07-02T06:42:21.072" v="3900" actId="120"/>
          <ac:spMkLst>
            <pc:docMk/>
            <pc:sldMk cId="62308209" sldId="2161"/>
            <ac:spMk id="31" creationId="{80DB5C2A-CB4E-438A-8801-EB0869040D7B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32" creationId="{033F8E04-53E7-4A71-B4D6-FF10F98070ED}"/>
          </ac:spMkLst>
        </pc:spChg>
        <pc:spChg chg="del">
          <ac:chgData name="Aurelien Domont" userId="6da7715ce44349b3" providerId="LiveId" clId="{AFF9B0D5-CA7D-40FB-964A-23276295459E}" dt="2021-07-02T06:38:44.703" v="3846" actId="478"/>
          <ac:spMkLst>
            <pc:docMk/>
            <pc:sldMk cId="62308209" sldId="2161"/>
            <ac:spMk id="51" creationId="{7E31ED7F-C9D6-48C3-B1F3-EC53DABCBEF6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2" creationId="{B57B670F-66D2-4BBB-8ADD-DD425B918B4B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3" creationId="{8A071EFC-1A87-4FB3-A387-997200B32BCF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4" creationId="{E7D1A9F7-F376-48B5-ACD6-0ECF9A5D6033}"/>
          </ac:spMkLst>
        </pc:spChg>
        <pc:spChg chg="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6" creationId="{8F580AAF-D82F-4402-8B8B-DF5D69E2E5AC}"/>
          </ac:spMkLst>
        </pc:spChg>
        <pc:spChg chg="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7" creationId="{ED94E46C-75E5-4253-B48F-13AAF70595C9}"/>
          </ac:spMkLst>
        </pc:spChg>
        <pc:spChg chg="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8" creationId="{91EFB211-2059-49C9-B55E-028664FF3920}"/>
          </ac:spMkLst>
        </pc:spChg>
        <pc:spChg chg="add mod">
          <ac:chgData name="Aurelien Domont" userId="6da7715ce44349b3" providerId="LiveId" clId="{AFF9B0D5-CA7D-40FB-964A-23276295459E}" dt="2021-07-02T06:42:28.885" v="3908" actId="1038"/>
          <ac:spMkLst>
            <pc:docMk/>
            <pc:sldMk cId="62308209" sldId="2161"/>
            <ac:spMk id="60" creationId="{6078E75A-95F9-4062-B971-DE37DF2475AE}"/>
          </ac:spMkLst>
        </pc:spChg>
        <pc:spChg chg="add mod">
          <ac:chgData name="Aurelien Domont" userId="6da7715ce44349b3" providerId="LiveId" clId="{AFF9B0D5-CA7D-40FB-964A-23276295459E}" dt="2021-07-02T06:42:42.024" v="3931" actId="1035"/>
          <ac:spMkLst>
            <pc:docMk/>
            <pc:sldMk cId="62308209" sldId="2161"/>
            <ac:spMk id="61" creationId="{EAB5CE94-774E-4911-BFC3-A660F1FCA6D3}"/>
          </ac:spMkLst>
        </pc:spChg>
        <pc:spChg chg="add mod">
          <ac:chgData name="Aurelien Domont" userId="6da7715ce44349b3" providerId="LiveId" clId="{AFF9B0D5-CA7D-40FB-964A-23276295459E}" dt="2021-07-02T06:42:33.856" v="3919" actId="1038"/>
          <ac:spMkLst>
            <pc:docMk/>
            <pc:sldMk cId="62308209" sldId="2161"/>
            <ac:spMk id="62" creationId="{ADE61CDA-E38F-4AB2-B7AD-D17F544B61C7}"/>
          </ac:spMkLst>
        </pc:spChg>
        <pc:spChg chg="add mod">
          <ac:chgData name="Aurelien Domont" userId="6da7715ce44349b3" providerId="LiveId" clId="{AFF9B0D5-CA7D-40FB-964A-23276295459E}" dt="2021-07-02T06:42:37.705" v="3924" actId="1038"/>
          <ac:spMkLst>
            <pc:docMk/>
            <pc:sldMk cId="62308209" sldId="2161"/>
            <ac:spMk id="63" creationId="{358A0373-39B5-474E-8421-DD6F0FB150FB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64" creationId="{9B3E9D2C-4278-4621-95A7-D27A6919FA86}"/>
          </ac:spMkLst>
        </pc:spChg>
        <pc:spChg chg="add mod">
          <ac:chgData name="Aurelien Domont" userId="6da7715ce44349b3" providerId="LiveId" clId="{AFF9B0D5-CA7D-40FB-964A-23276295459E}" dt="2021-07-02T06:42:47.446" v="3939" actId="1035"/>
          <ac:spMkLst>
            <pc:docMk/>
            <pc:sldMk cId="62308209" sldId="2161"/>
            <ac:spMk id="65" creationId="{B55073F2-1954-462C-A452-31F8233B9879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66" creationId="{796A31A2-C8F4-48B1-8462-32FD9A2EC610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72" creationId="{F3393F05-0676-4C98-8DAF-2DDEC3B3F675}"/>
          </ac:spMkLst>
        </pc:spChg>
        <pc:grpChg chg="add mod">
          <ac:chgData name="Aurelien Domont" userId="6da7715ce44349b3" providerId="LiveId" clId="{AFF9B0D5-CA7D-40FB-964A-23276295459E}" dt="2021-07-02T06:41:04.528" v="3851" actId="1076"/>
          <ac:grpSpMkLst>
            <pc:docMk/>
            <pc:sldMk cId="62308209" sldId="2161"/>
            <ac:grpSpMk id="2" creationId="{FFCD903C-2A8B-42A0-9428-7FD75FD8204A}"/>
          </ac:grpSpMkLst>
        </pc:grpChg>
        <pc:grpChg chg="del">
          <ac:chgData name="Aurelien Domont" userId="6da7715ce44349b3" providerId="LiveId" clId="{AFF9B0D5-CA7D-40FB-964A-23276295459E}" dt="2021-07-02T06:38:44.703" v="3846" actId="478"/>
          <ac:grpSpMkLst>
            <pc:docMk/>
            <pc:sldMk cId="62308209" sldId="2161"/>
            <ac:grpSpMk id="4" creationId="{BD5EFEE5-15B1-4D1C-9CCE-C42E69F4F8C9}"/>
          </ac:grpSpMkLst>
        </pc:grpChg>
        <pc:grpChg chg="add mod">
          <ac:chgData name="Aurelien Domont" userId="6da7715ce44349b3" providerId="LiveId" clId="{AFF9B0D5-CA7D-40FB-964A-23276295459E}" dt="2021-07-02T06:40:53.764" v="3848" actId="164"/>
          <ac:grpSpMkLst>
            <pc:docMk/>
            <pc:sldMk cId="62308209" sldId="2161"/>
            <ac:grpSpMk id="55" creationId="{5F173398-CF24-4A8B-BEFC-62A4F2CE4E3A}"/>
          </ac:grpSpMkLst>
        </pc:grp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59" creationId="{92257B03-FF73-4623-89AC-5020CF4D5BC5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67" creationId="{59DE3361-E469-4F39-B393-EE897CA3545E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68" creationId="{E23B3C1A-4568-4858-A67F-5DB958054561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69" creationId="{427E90CE-7866-424A-B941-EF9E925D7355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70" creationId="{C9217D3E-347F-4A76-99E9-7D7CD95EF2C1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71" creationId="{F7AB70C5-DAFE-4354-8A89-D55658C61F19}"/>
          </ac:picMkLst>
        </pc:picChg>
      </pc:sldChg>
      <pc:sldChg chg="addSp delSp modSp add mod">
        <pc:chgData name="Aurelien Domont" userId="6da7715ce44349b3" providerId="LiveId" clId="{AFF9B0D5-CA7D-40FB-964A-23276295459E}" dt="2021-07-02T06:47:12.727" v="3991" actId="1036"/>
        <pc:sldMkLst>
          <pc:docMk/>
          <pc:sldMk cId="3272444503" sldId="2162"/>
        </pc:sldMkLst>
        <pc:spChg chg="mod">
          <ac:chgData name="Aurelien Domont" userId="6da7715ce44349b3" providerId="LiveId" clId="{AFF9B0D5-CA7D-40FB-964A-23276295459E}" dt="2021-07-02T06:43:36.925" v="3971" actId="20577"/>
          <ac:spMkLst>
            <pc:docMk/>
            <pc:sldMk cId="3272444503" sldId="2162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7-02T06:43:47.718" v="3973" actId="478"/>
          <ac:spMkLst>
            <pc:docMk/>
            <pc:sldMk cId="3272444503" sldId="2162"/>
            <ac:spMk id="31" creationId="{80DB5C2A-CB4E-438A-8801-EB0869040D7B}"/>
          </ac:spMkLst>
        </pc:spChg>
        <pc:spChg chg="add mod">
          <ac:chgData name="Aurelien Domont" userId="6da7715ce44349b3" providerId="LiveId" clId="{AFF9B0D5-CA7D-40FB-964A-23276295459E}" dt="2021-07-02T06:47:12.727" v="3991" actId="1036"/>
          <ac:spMkLst>
            <pc:docMk/>
            <pc:sldMk cId="3272444503" sldId="2162"/>
            <ac:spMk id="34" creationId="{2B936149-E2A6-4141-A333-C5E1855245B1}"/>
          </ac:spMkLst>
        </pc:spChg>
        <pc:grpChg chg="del">
          <ac:chgData name="Aurelien Domont" userId="6da7715ce44349b3" providerId="LiveId" clId="{AFF9B0D5-CA7D-40FB-964A-23276295459E}" dt="2021-07-02T06:43:44.883" v="3972" actId="478"/>
          <ac:grpSpMkLst>
            <pc:docMk/>
            <pc:sldMk cId="3272444503" sldId="2162"/>
            <ac:grpSpMk id="2" creationId="{FFCD903C-2A8B-42A0-9428-7FD75FD8204A}"/>
          </ac:grpSpMkLst>
        </pc:grpChg>
      </pc:sldChg>
      <pc:sldChg chg="addSp modSp new del mod">
        <pc:chgData name="Aurelien Domont" userId="6da7715ce44349b3" providerId="LiveId" clId="{AFF9B0D5-CA7D-40FB-964A-23276295459E}" dt="2021-07-02T08:38:32.427" v="5616" actId="47"/>
        <pc:sldMkLst>
          <pc:docMk/>
          <pc:sldMk cId="2804548229" sldId="2163"/>
        </pc:sldMkLst>
        <pc:spChg chg="add mod">
          <ac:chgData name="Aurelien Domont" userId="6da7715ce44349b3" providerId="LiveId" clId="{AFF9B0D5-CA7D-40FB-964A-23276295459E}" dt="2021-07-02T06:47:42.087" v="3994" actId="207"/>
          <ac:spMkLst>
            <pc:docMk/>
            <pc:sldMk cId="2804548229" sldId="2163"/>
            <ac:spMk id="3" creationId="{A309BA6C-2CD1-4FF7-AEA6-6B4F4BAC4391}"/>
          </ac:spMkLst>
        </pc:spChg>
      </pc:sldChg>
      <pc:sldChg chg="addSp delSp modSp add mod">
        <pc:chgData name="Aurelien Domont" userId="6da7715ce44349b3" providerId="LiveId" clId="{AFF9B0D5-CA7D-40FB-964A-23276295459E}" dt="2021-07-06T01:53:34.327" v="6136" actId="20577"/>
        <pc:sldMkLst>
          <pc:docMk/>
          <pc:sldMk cId="3193088531" sldId="2164"/>
        </pc:sldMkLst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6" creationId="{80C2FA24-C3FF-4F99-8694-BA262AB8070A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7" creationId="{AA474FA7-23F8-48D3-A4A1-46C7E7EF8CBF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8" creationId="{44D82846-5412-4854-9CE9-6BD4A4D3F201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10" creationId="{F6F130AE-016B-49E7-B056-02422308B35C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11" creationId="{381FC75F-03AC-4E06-95A5-77AA464D139B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12" creationId="{F22BF9F2-93B5-4D57-85D0-BA4BB3074ECE}"/>
          </ac:spMkLst>
        </pc:spChg>
        <pc:spChg chg="mod">
          <ac:chgData name="Aurelien Domont" userId="6da7715ce44349b3" providerId="LiveId" clId="{AFF9B0D5-CA7D-40FB-964A-23276295459E}" dt="2021-07-06T01:53:34.327" v="6136" actId="20577"/>
          <ac:spMkLst>
            <pc:docMk/>
            <pc:sldMk cId="3193088531" sldId="2164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7-02T06:53:53.910" v="4178" actId="478"/>
          <ac:spMkLst>
            <pc:docMk/>
            <pc:sldMk cId="3193088531" sldId="2164"/>
            <ac:spMk id="34" creationId="{2B936149-E2A6-4141-A333-C5E1855245B1}"/>
          </ac:spMkLst>
        </pc:spChg>
        <pc:cxnChg chg="add mod">
          <ac:chgData name="Aurelien Domont" userId="6da7715ce44349b3" providerId="LiveId" clId="{AFF9B0D5-CA7D-40FB-964A-23276295459E}" dt="2021-07-02T06:54:01.482" v="4179"/>
          <ac:cxnSpMkLst>
            <pc:docMk/>
            <pc:sldMk cId="3193088531" sldId="2164"/>
            <ac:cxnSpMk id="9" creationId="{938E2F11-EEE6-4CE3-AA18-0A0EFEAFC83C}"/>
          </ac:cxnSpMkLst>
        </pc:cxnChg>
        <pc:cxnChg chg="add mod">
          <ac:chgData name="Aurelien Domont" userId="6da7715ce44349b3" providerId="LiveId" clId="{AFF9B0D5-CA7D-40FB-964A-23276295459E}" dt="2021-07-02T06:54:01.482" v="4179"/>
          <ac:cxnSpMkLst>
            <pc:docMk/>
            <pc:sldMk cId="3193088531" sldId="2164"/>
            <ac:cxnSpMk id="14" creationId="{BD538E77-947C-4FAE-B4B2-3DD1EF8F7624}"/>
          </ac:cxnSpMkLst>
        </pc:cxnChg>
      </pc:sldChg>
      <pc:sldChg chg="addSp delSp modSp add mod ord">
        <pc:chgData name="Aurelien Domont" userId="6da7715ce44349b3" providerId="LiveId" clId="{AFF9B0D5-CA7D-40FB-964A-23276295459E}" dt="2021-07-05T02:30:57.858" v="5704" actId="2085"/>
        <pc:sldMkLst>
          <pc:docMk/>
          <pc:sldMk cId="2400249224" sldId="2165"/>
        </pc:sldMkLst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11" creationId="{C945D0E4-EB22-47D2-A223-70BD240B1835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12" creationId="{823B4944-65C4-4BB1-9DFE-E40E286EE30D}"/>
          </ac:spMkLst>
        </pc:spChg>
        <pc:spChg chg="mod">
          <ac:chgData name="Aurelien Domont" userId="6da7715ce44349b3" providerId="LiveId" clId="{AFF9B0D5-CA7D-40FB-964A-23276295459E}" dt="2021-07-02T08:06:29.897" v="5056"/>
          <ac:spMkLst>
            <pc:docMk/>
            <pc:sldMk cId="2400249224" sldId="2165"/>
            <ac:spMk id="16" creationId="{6C2BB713-9637-4B9B-938F-E9768876782A}"/>
          </ac:spMkLst>
        </pc:spChg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18" creationId="{88429D78-7296-4BC5-B009-22D19FB81666}"/>
          </ac:spMkLst>
        </pc:spChg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19" creationId="{D1342AC6-4D4C-4458-9891-9AB7B9818B31}"/>
          </ac:spMkLst>
        </pc:spChg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20" creationId="{0C424759-6A53-4EB2-8AFA-918C5FBE1D15}"/>
          </ac:spMkLst>
        </pc:spChg>
        <pc:spChg chg="add del">
          <ac:chgData name="Aurelien Domont" userId="6da7715ce44349b3" providerId="LiveId" clId="{AFF9B0D5-CA7D-40FB-964A-23276295459E}" dt="2021-07-02T07:55:11.987" v="4633"/>
          <ac:spMkLst>
            <pc:docMk/>
            <pc:sldMk cId="2400249224" sldId="2165"/>
            <ac:spMk id="21" creationId="{15B7ADBE-C141-4946-B8B1-0AF5AA18ABAC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22" creationId="{2F78B30E-DA97-4E69-8F7E-6B67C7C7ACEC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23" creationId="{1EA029EC-6818-49F2-B572-01B2F5F20DEB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24" creationId="{C5DC413F-6B65-4481-B60E-C6DBB128152C}"/>
          </ac:spMkLst>
        </pc:spChg>
        <pc:spChg chg="add mo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29" creationId="{29DBF3F6-943A-4401-86EA-08968460D530}"/>
          </ac:spMkLst>
        </pc:spChg>
        <pc:spChg chg="add mo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30" creationId="{C38C2946-25FF-4699-86AA-50F5DEBCFD04}"/>
          </ac:spMkLst>
        </pc:spChg>
        <pc:spChg chg="add del">
          <ac:chgData name="Aurelien Domont" userId="6da7715ce44349b3" providerId="LiveId" clId="{AFF9B0D5-CA7D-40FB-964A-23276295459E}" dt="2021-07-02T07:57:50.851" v="4746" actId="478"/>
          <ac:spMkLst>
            <pc:docMk/>
            <pc:sldMk cId="2400249224" sldId="2165"/>
            <ac:spMk id="32" creationId="{FC195B7B-413E-45F8-B82B-FB042FA0BB43}"/>
          </ac:spMkLst>
        </pc:spChg>
        <pc:spChg chg="add del mod ord">
          <ac:chgData name="Aurelien Domont" userId="6da7715ce44349b3" providerId="LiveId" clId="{AFF9B0D5-CA7D-40FB-964A-23276295459E}" dt="2021-07-02T08:01:19.031" v="4891" actId="478"/>
          <ac:spMkLst>
            <pc:docMk/>
            <pc:sldMk cId="2400249224" sldId="2165"/>
            <ac:spMk id="33" creationId="{444D7D4A-170F-44FB-B38F-E61206D68C56}"/>
          </ac:spMkLst>
        </pc:spChg>
        <pc:spChg chg="del">
          <ac:chgData name="Aurelien Domont" userId="6da7715ce44349b3" providerId="LiveId" clId="{AFF9B0D5-CA7D-40FB-964A-23276295459E}" dt="2021-07-02T06:59:25.385" v="4284" actId="478"/>
          <ac:spMkLst>
            <pc:docMk/>
            <pc:sldMk cId="2400249224" sldId="2165"/>
            <ac:spMk id="34" creationId="{2B936149-E2A6-4141-A333-C5E1855245B1}"/>
          </ac:spMkLst>
        </pc:spChg>
        <pc:spChg chg="add del">
          <ac:chgData name="Aurelien Domont" userId="6da7715ce44349b3" providerId="LiveId" clId="{AFF9B0D5-CA7D-40FB-964A-23276295459E}" dt="2021-07-02T07:59:16.229" v="4864" actId="11529"/>
          <ac:spMkLst>
            <pc:docMk/>
            <pc:sldMk cId="2400249224" sldId="2165"/>
            <ac:spMk id="35" creationId="{9E5C7A3E-71D4-47F5-91B3-667217B31E98}"/>
          </ac:spMkLst>
        </pc:spChg>
        <pc:spChg chg="add del mod">
          <ac:chgData name="Aurelien Domont" userId="6da7715ce44349b3" providerId="LiveId" clId="{AFF9B0D5-CA7D-40FB-964A-23276295459E}" dt="2021-07-02T07:59:26.527" v="4867" actId="478"/>
          <ac:spMkLst>
            <pc:docMk/>
            <pc:sldMk cId="2400249224" sldId="2165"/>
            <ac:spMk id="36" creationId="{238A74CA-8FC4-45E2-BFB9-F2A11E0D838A}"/>
          </ac:spMkLst>
        </pc:spChg>
        <pc:spChg chg="add mo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37" creationId="{E090C855-9260-479C-B65C-3952652E8DF4}"/>
          </ac:spMkLst>
        </pc:spChg>
        <pc:spChg chg="add del mod">
          <ac:chgData name="Aurelien Domont" userId="6da7715ce44349b3" providerId="LiveId" clId="{AFF9B0D5-CA7D-40FB-964A-23276295459E}" dt="2021-07-02T08:05:43.796" v="5041" actId="478"/>
          <ac:spMkLst>
            <pc:docMk/>
            <pc:sldMk cId="2400249224" sldId="2165"/>
            <ac:spMk id="50" creationId="{FED94474-2B2D-4855-8CBB-00860C129111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1" creationId="{89C21646-4673-48FC-8467-4C1C08EEAC56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4" creationId="{207750B2-0729-4BB5-BFF3-873815BFFE7B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5" creationId="{D510DCA3-5B46-483C-A161-635432637180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6" creationId="{149F8417-C82B-4D73-84CD-1D791D410559}"/>
          </ac:spMkLst>
        </pc:spChg>
        <pc:spChg chg="add mod or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57" creationId="{6881C0D3-7F7F-4F87-A07A-1B0585F319D1}"/>
          </ac:spMkLst>
        </pc:sp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3" creationId="{71758693-EE1D-4F29-A184-12C0424C4705}"/>
          </ac:picMkLst>
        </pc:picChg>
        <pc:picChg chg="add del mod">
          <ac:chgData name="Aurelien Domont" userId="6da7715ce44349b3" providerId="LiveId" clId="{AFF9B0D5-CA7D-40FB-964A-23276295459E}" dt="2021-07-02T07:08:05.450" v="4316" actId="478"/>
          <ac:picMkLst>
            <pc:docMk/>
            <pc:sldMk cId="2400249224" sldId="2165"/>
            <ac:picMk id="6" creationId="{68AF59FD-3FDC-409A-A1AF-EA4C0C2E64DE}"/>
          </ac:picMkLst>
        </pc:picChg>
        <pc:picChg chg="add del mod">
          <ac:chgData name="Aurelien Domont" userId="6da7715ce44349b3" providerId="LiveId" clId="{AFF9B0D5-CA7D-40FB-964A-23276295459E}" dt="2021-07-02T07:07:56.221" v="4313" actId="478"/>
          <ac:picMkLst>
            <pc:docMk/>
            <pc:sldMk cId="2400249224" sldId="2165"/>
            <ac:picMk id="8" creationId="{8DD36EE1-7030-49BA-BB4D-CCA7286A4374}"/>
          </ac:picMkLst>
        </pc:picChg>
        <pc:picChg chg="add del mod">
          <ac:chgData name="Aurelien Domont" userId="6da7715ce44349b3" providerId="LiveId" clId="{AFF9B0D5-CA7D-40FB-964A-23276295459E}" dt="2021-07-02T07:08:56.841" v="4325" actId="478"/>
          <ac:picMkLst>
            <pc:docMk/>
            <pc:sldMk cId="2400249224" sldId="2165"/>
            <ac:picMk id="10" creationId="{85F68A0B-00ED-4E65-9593-2D230B1D8EEE}"/>
          </ac:picMkLst>
        </pc:pic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14" creationId="{74CA0334-E7F2-4E00-8F48-A0C54D7E9AC0}"/>
          </ac:picMkLst>
        </pc:pic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15" creationId="{70E9EE01-614F-4CDA-95D1-0894D8A6384F}"/>
          </ac:picMkLst>
        </pc:pic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17" creationId="{2D239190-B59B-474E-8796-CC98D3CA8AC1}"/>
          </ac:picMkLst>
        </pc:picChg>
        <pc:picChg chg="add del">
          <ac:chgData name="Aurelien Domont" userId="6da7715ce44349b3" providerId="LiveId" clId="{AFF9B0D5-CA7D-40FB-964A-23276295459E}" dt="2021-07-02T07:55:13.760" v="4635"/>
          <ac:picMkLst>
            <pc:docMk/>
            <pc:sldMk cId="2400249224" sldId="2165"/>
            <ac:picMk id="25" creationId="{26A399CD-A245-4DA9-BECE-1559DC266587}"/>
          </ac:picMkLst>
        </pc:picChg>
        <pc:picChg chg="add del mod">
          <ac:chgData name="Aurelien Domont" userId="6da7715ce44349b3" providerId="LiveId" clId="{AFF9B0D5-CA7D-40FB-964A-23276295459E}" dt="2021-07-05T02:28:48.248" v="5694"/>
          <ac:picMkLst>
            <pc:docMk/>
            <pc:sldMk cId="2400249224" sldId="2165"/>
            <ac:picMk id="27" creationId="{11BF715A-C0A1-4715-8BF3-B03BF93E3FFA}"/>
          </ac:picMkLst>
        </pc:picChg>
        <pc:picChg chg="add mod">
          <ac:chgData name="Aurelien Domont" userId="6da7715ce44349b3" providerId="LiveId" clId="{AFF9B0D5-CA7D-40FB-964A-23276295459E}" dt="2021-07-02T08:08:10.069" v="5081" actId="1036"/>
          <ac:picMkLst>
            <pc:docMk/>
            <pc:sldMk cId="2400249224" sldId="2165"/>
            <ac:picMk id="3074" creationId="{0AC0D32F-D87D-4B83-8BFC-E6D05DAEC117}"/>
          </ac:picMkLst>
        </pc:picChg>
        <pc:picChg chg="add mod">
          <ac:chgData name="Aurelien Domont" userId="6da7715ce44349b3" providerId="LiveId" clId="{AFF9B0D5-CA7D-40FB-964A-23276295459E}" dt="2021-07-02T08:08:10.069" v="5081" actId="1036"/>
          <ac:picMkLst>
            <pc:docMk/>
            <pc:sldMk cId="2400249224" sldId="2165"/>
            <ac:picMk id="3078" creationId="{C3956BAD-05A7-4E7C-B3FC-6E893538FA78}"/>
          </ac:picMkLst>
        </pc:picChg>
        <pc:cxnChg chg="add del mod">
          <ac:chgData name="Aurelien Domont" userId="6da7715ce44349b3" providerId="LiveId" clId="{AFF9B0D5-CA7D-40FB-964A-23276295459E}" dt="2021-07-02T07:57:25.564" v="4736" actId="478"/>
          <ac:cxnSpMkLst>
            <pc:docMk/>
            <pc:sldMk cId="2400249224" sldId="2165"/>
            <ac:cxnSpMk id="27" creationId="{B7A3B84A-2CEC-4A7A-A610-139D3635DDB5}"/>
          </ac:cxnSpMkLst>
        </pc:cxnChg>
        <pc:cxnChg chg="add del mod">
          <ac:chgData name="Aurelien Domont" userId="6da7715ce44349b3" providerId="LiveId" clId="{AFF9B0D5-CA7D-40FB-964A-23276295459E}" dt="2021-07-02T07:57:25.564" v="4736" actId="478"/>
          <ac:cxnSpMkLst>
            <pc:docMk/>
            <pc:sldMk cId="2400249224" sldId="2165"/>
            <ac:cxnSpMk id="31" creationId="{FDA8CC01-A41B-4047-B592-7D020AFE2FFC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39" creationId="{0476287B-115F-4DFC-B17B-AAA1C5E7E386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41" creationId="{05928C74-AF54-46EB-892B-273FDA88C507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43" creationId="{2E0CAC20-5F97-4E91-93F7-E518B417FF6D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45" creationId="{6B6DD873-1562-4340-86C2-B2C023DEA74C}"/>
          </ac:cxnSpMkLst>
        </pc:cxn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3057889348" sldId="2166"/>
        </pc:sldMkLst>
      </pc:sldChg>
      <pc:sldChg chg="addSp delSp modSp add mod">
        <pc:chgData name="Aurelien Domont" userId="6da7715ce44349b3" providerId="LiveId" clId="{AFF9B0D5-CA7D-40FB-964A-23276295459E}" dt="2021-07-06T01:59:26.933" v="6194" actId="478"/>
        <pc:sldMkLst>
          <pc:docMk/>
          <pc:sldMk cId="2369505737" sldId="2167"/>
        </pc:sldMkLst>
        <pc:spChg chg="add mod">
          <ac:chgData name="Aurelien Domont" userId="6da7715ce44349b3" providerId="LiveId" clId="{AFF9B0D5-CA7D-40FB-964A-23276295459E}" dt="2021-07-06T01:47:45.575" v="6014" actId="108"/>
          <ac:spMkLst>
            <pc:docMk/>
            <pc:sldMk cId="2369505737" sldId="2167"/>
            <ac:spMk id="6" creationId="{61BD4388-6F9D-4C31-90C2-680E7FD1FB33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6" creationId="{80C2FA24-C3FF-4F99-8694-BA262AB8070A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7" creationId="{058165D9-C6C5-41CE-8E4E-2D521B573407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7" creationId="{AA474FA7-23F8-48D3-A4A1-46C7E7EF8CBF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8" creationId="{44D82846-5412-4854-9CE9-6BD4A4D3F201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8" creationId="{5E265501-976D-4DCF-A6F8-A1059EF162B8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10" creationId="{B4598AEF-78F8-475E-AC7D-E8372096BAB2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10" creationId="{F6F130AE-016B-49E7-B056-02422308B35C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11" creationId="{381FC75F-03AC-4E06-95A5-77AA464D139B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11" creationId="{45404312-C950-45DC-812F-5152B826E641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12" creationId="{19A483B2-8F29-40FE-8DE1-64429566E02B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12" creationId="{F22BF9F2-93B5-4D57-85D0-BA4BB3074ECE}"/>
          </ac:spMkLst>
        </pc:spChg>
        <pc:spChg chg="add del mod ord">
          <ac:chgData name="Aurelien Domont" userId="6da7715ce44349b3" providerId="LiveId" clId="{AFF9B0D5-CA7D-40FB-964A-23276295459E}" dt="2021-07-06T01:59:26.933" v="6194" actId="478"/>
          <ac:spMkLst>
            <pc:docMk/>
            <pc:sldMk cId="2369505737" sldId="2167"/>
            <ac:spMk id="15" creationId="{173F3409-5225-450B-9E19-0E199D73E9FA}"/>
          </ac:spMkLst>
        </pc:spChg>
        <pc:spChg chg="mod">
          <ac:chgData name="Aurelien Domont" userId="6da7715ce44349b3" providerId="LiveId" clId="{AFF9B0D5-CA7D-40FB-964A-23276295459E}" dt="2021-07-06T01:47:52.453" v="6024" actId="20577"/>
          <ac:spMkLst>
            <pc:docMk/>
            <pc:sldMk cId="2369505737" sldId="2167"/>
            <ac:spMk id="16" creationId="{6C2BB713-9637-4B9B-938F-E9768876782A}"/>
          </ac:spMkLst>
        </pc:spChg>
        <pc:cxnChg chg="add mod">
          <ac:chgData name="Aurelien Domont" userId="6da7715ce44349b3" providerId="LiveId" clId="{AFF9B0D5-CA7D-40FB-964A-23276295459E}" dt="2021-07-02T08:36:17.101" v="5512"/>
          <ac:cxnSpMkLst>
            <pc:docMk/>
            <pc:sldMk cId="2369505737" sldId="2167"/>
            <ac:cxnSpMk id="9" creationId="{29940A68-0B12-4DB4-B6BF-26CE87860A62}"/>
          </ac:cxnSpMkLst>
        </pc:cxnChg>
        <pc:cxnChg chg="del">
          <ac:chgData name="Aurelien Domont" userId="6da7715ce44349b3" providerId="LiveId" clId="{AFF9B0D5-CA7D-40FB-964A-23276295459E}" dt="2021-07-02T07:53:15.492" v="4628" actId="478"/>
          <ac:cxnSpMkLst>
            <pc:docMk/>
            <pc:sldMk cId="2369505737" sldId="2167"/>
            <ac:cxnSpMk id="9" creationId="{938E2F11-EEE6-4CE3-AA18-0A0EFEAFC83C}"/>
          </ac:cxnSpMkLst>
        </pc:cxnChg>
        <pc:cxnChg chg="add mod">
          <ac:chgData name="Aurelien Domont" userId="6da7715ce44349b3" providerId="LiveId" clId="{AFF9B0D5-CA7D-40FB-964A-23276295459E}" dt="2021-07-02T08:36:17.101" v="5512"/>
          <ac:cxnSpMkLst>
            <pc:docMk/>
            <pc:sldMk cId="2369505737" sldId="2167"/>
            <ac:cxnSpMk id="14" creationId="{14CD9B99-0907-4DB9-B10F-F0E0E658423E}"/>
          </ac:cxnSpMkLst>
        </pc:cxnChg>
        <pc:cxnChg chg="del">
          <ac:chgData name="Aurelien Domont" userId="6da7715ce44349b3" providerId="LiveId" clId="{AFF9B0D5-CA7D-40FB-964A-23276295459E}" dt="2021-07-02T07:53:15.492" v="4628" actId="478"/>
          <ac:cxnSpMkLst>
            <pc:docMk/>
            <pc:sldMk cId="2369505737" sldId="2167"/>
            <ac:cxnSpMk id="14" creationId="{BD538E77-947C-4FAE-B4B2-3DD1EF8F7624}"/>
          </ac:cxnSpMkLst>
        </pc:cxnChg>
      </pc:sldChg>
      <pc:sldChg chg="delSp modSp add del mod">
        <pc:chgData name="Aurelien Domont" userId="6da7715ce44349b3" providerId="LiveId" clId="{AFF9B0D5-CA7D-40FB-964A-23276295459E}" dt="2021-07-06T02:00:42.042" v="6200" actId="47"/>
        <pc:sldMkLst>
          <pc:docMk/>
          <pc:sldMk cId="13669963" sldId="2168"/>
        </pc:sldMkLst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6" creationId="{61BD4388-6F9D-4C31-90C2-680E7FD1FB33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7" creationId="{058165D9-C6C5-41CE-8E4E-2D521B573407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8" creationId="{5E265501-976D-4DCF-A6F8-A1059EF162B8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10" creationId="{B4598AEF-78F8-475E-AC7D-E8372096BAB2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11" creationId="{45404312-C950-45DC-812F-5152B826E641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12" creationId="{19A483B2-8F29-40FE-8DE1-64429566E02B}"/>
          </ac:spMkLst>
        </pc:spChg>
        <pc:spChg chg="mod">
          <ac:chgData name="Aurelien Domont" userId="6da7715ce44349b3" providerId="LiveId" clId="{AFF9B0D5-CA7D-40FB-964A-23276295459E}" dt="2021-07-02T08:37:54.411" v="5615" actId="20577"/>
          <ac:spMkLst>
            <pc:docMk/>
            <pc:sldMk cId="13669963" sldId="2168"/>
            <ac:spMk id="16" creationId="{6C2BB713-9637-4B9B-938F-E9768876782A}"/>
          </ac:spMkLst>
        </pc:spChg>
        <pc:cxnChg chg="del">
          <ac:chgData name="Aurelien Domont" userId="6da7715ce44349b3" providerId="LiveId" clId="{AFF9B0D5-CA7D-40FB-964A-23276295459E}" dt="2021-07-02T08:37:15.437" v="5586" actId="478"/>
          <ac:cxnSpMkLst>
            <pc:docMk/>
            <pc:sldMk cId="13669963" sldId="2168"/>
            <ac:cxnSpMk id="9" creationId="{29940A68-0B12-4DB4-B6BF-26CE87860A62}"/>
          </ac:cxnSpMkLst>
        </pc:cxnChg>
        <pc:cxnChg chg="del">
          <ac:chgData name="Aurelien Domont" userId="6da7715ce44349b3" providerId="LiveId" clId="{AFF9B0D5-CA7D-40FB-964A-23276295459E}" dt="2021-07-02T08:37:15.437" v="5586" actId="478"/>
          <ac:cxnSpMkLst>
            <pc:docMk/>
            <pc:sldMk cId="13669963" sldId="2168"/>
            <ac:cxnSpMk id="14" creationId="{14CD9B99-0907-4DB9-B10F-F0E0E658423E}"/>
          </ac:cxnSpMkLst>
        </pc:cxnChg>
      </pc:sldChg>
      <pc:sldChg chg="add del">
        <pc:chgData name="Aurelien Domont" userId="6da7715ce44349b3" providerId="LiveId" clId="{AFF9B0D5-CA7D-40FB-964A-23276295459E}" dt="2021-07-02T08:08:59.746" v="5100" actId="47"/>
        <pc:sldMkLst>
          <pc:docMk/>
          <pc:sldMk cId="2135055012" sldId="2168"/>
        </pc:sldMkLst>
      </pc:sldChg>
      <pc:sldChg chg="add del">
        <pc:chgData name="Aurelien Domont" userId="6da7715ce44349b3" providerId="LiveId" clId="{AFF9B0D5-CA7D-40FB-964A-23276295459E}" dt="2021-07-02T08:04:53.695" v="5034" actId="47"/>
        <pc:sldMkLst>
          <pc:docMk/>
          <pc:sldMk cId="2939201030" sldId="2169"/>
        </pc:sldMkLst>
      </pc:sldChg>
      <pc:sldChg chg="add del">
        <pc:chgData name="Aurelien Domont" userId="6da7715ce44349b3" providerId="LiveId" clId="{AFF9B0D5-CA7D-40FB-964A-23276295459E}" dt="2021-07-02T08:08:58.802" v="5099" actId="47"/>
        <pc:sldMkLst>
          <pc:docMk/>
          <pc:sldMk cId="3735244596" sldId="2169"/>
        </pc:sldMkLst>
      </pc:sldChg>
      <pc:sldChg chg="addSp delSp modSp add mod">
        <pc:chgData name="Aurelien Domont" userId="6da7715ce44349b3" providerId="LiveId" clId="{AFF9B0D5-CA7D-40FB-964A-23276295459E}" dt="2021-07-06T03:56:46.026" v="6365" actId="20577"/>
        <pc:sldMkLst>
          <pc:docMk/>
          <pc:sldMk cId="4178836903" sldId="2169"/>
        </pc:sldMkLst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6" creationId="{61BD4388-6F9D-4C31-90C2-680E7FD1FB33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7" creationId="{058165D9-C6C5-41CE-8E4E-2D521B573407}"/>
          </ac:spMkLst>
        </pc:spChg>
        <pc:spChg chg="mod">
          <ac:chgData name="Aurelien Domont" userId="6da7715ce44349b3" providerId="LiveId" clId="{AFF9B0D5-CA7D-40FB-964A-23276295459E}" dt="2021-07-06T01:49:58.373" v="6025"/>
          <ac:spMkLst>
            <pc:docMk/>
            <pc:sldMk cId="4178836903" sldId="2169"/>
            <ac:spMk id="7" creationId="{586EBA78-DFE9-49C7-BB2A-CBE2EE9B7FA1}"/>
          </ac:spMkLst>
        </pc:spChg>
        <pc:spChg chg="mod">
          <ac:chgData name="Aurelien Domont" userId="6da7715ce44349b3" providerId="LiveId" clId="{AFF9B0D5-CA7D-40FB-964A-23276295459E}" dt="2021-07-06T01:50:06.776" v="6038" actId="20577"/>
          <ac:spMkLst>
            <pc:docMk/>
            <pc:sldMk cId="4178836903" sldId="2169"/>
            <ac:spMk id="8" creationId="{349A5370-D44D-4891-B58A-A16D74C07572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8" creationId="{5E265501-976D-4DCF-A6F8-A1059EF162B8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10" creationId="{B4598AEF-78F8-475E-AC7D-E8372096BAB2}"/>
          </ac:spMkLst>
        </pc:spChg>
        <pc:spChg chg="del">
          <ac:chgData name="Aurelien Domont" userId="6da7715ce44349b3" providerId="LiveId" clId="{AFF9B0D5-CA7D-40FB-964A-23276295459E}" dt="2021-07-02T08:39:23.713" v="5619" actId="478"/>
          <ac:spMkLst>
            <pc:docMk/>
            <pc:sldMk cId="4178836903" sldId="2169"/>
            <ac:spMk id="11" creationId="{45404312-C950-45DC-812F-5152B826E641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12" creationId="{19A483B2-8F29-40FE-8DE1-64429566E02B}"/>
          </ac:spMkLst>
        </pc:spChg>
        <pc:spChg chg="mod">
          <ac:chgData name="Aurelien Domont" userId="6da7715ce44349b3" providerId="LiveId" clId="{AFF9B0D5-CA7D-40FB-964A-23276295459E}" dt="2021-07-06T03:56:46.026" v="6365" actId="20577"/>
          <ac:spMkLst>
            <pc:docMk/>
            <pc:sldMk cId="4178836903" sldId="2169"/>
            <ac:spMk id="16" creationId="{6C2BB713-9637-4B9B-938F-E9768876782A}"/>
          </ac:spMkLst>
        </pc:spChg>
        <pc:grpChg chg="add mod">
          <ac:chgData name="Aurelien Domont" userId="6da7715ce44349b3" providerId="LiveId" clId="{AFF9B0D5-CA7D-40FB-964A-23276295459E}" dt="2021-07-06T01:49:58.373" v="6025"/>
          <ac:grpSpMkLst>
            <pc:docMk/>
            <pc:sldMk cId="4178836903" sldId="2169"/>
            <ac:grpSpMk id="6" creationId="{33747CCF-50E7-4EB5-9B4D-8E887AE145E7}"/>
          </ac:grpSpMkLst>
        </pc:grpChg>
        <pc:picChg chg="add mod">
          <ac:chgData name="Aurelien Domont" userId="6da7715ce44349b3" providerId="LiveId" clId="{AFF9B0D5-CA7D-40FB-964A-23276295459E}" dt="2021-07-06T01:57:47.260" v="6193" actId="1038"/>
          <ac:picMkLst>
            <pc:docMk/>
            <pc:sldMk cId="4178836903" sldId="2169"/>
            <ac:picMk id="2" creationId="{84E5CC93-D5AA-458E-BB87-714F1E53178E}"/>
          </ac:picMkLst>
        </pc:picChg>
        <pc:picChg chg="add mod">
          <ac:chgData name="Aurelien Domont" userId="6da7715ce44349b3" providerId="LiveId" clId="{AFF9B0D5-CA7D-40FB-964A-23276295459E}" dt="2021-07-06T01:57:39.076" v="6176" actId="1038"/>
          <ac:picMkLst>
            <pc:docMk/>
            <pc:sldMk cId="4178836903" sldId="2169"/>
            <ac:picMk id="3" creationId="{097ECFA8-B152-4816-9DCE-7FB11FD32803}"/>
          </ac:picMkLst>
        </pc:picChg>
        <pc:picChg chg="add mod">
          <ac:chgData name="Aurelien Domont" userId="6da7715ce44349b3" providerId="LiveId" clId="{AFF9B0D5-CA7D-40FB-964A-23276295459E}" dt="2021-07-06T01:57:39.076" v="6176" actId="1038"/>
          <ac:picMkLst>
            <pc:docMk/>
            <pc:sldMk cId="4178836903" sldId="2169"/>
            <ac:picMk id="4" creationId="{71090539-4853-42C0-8BB5-619FDF372F84}"/>
          </ac:picMkLst>
        </pc:picChg>
        <pc:picChg chg="add mod">
          <ac:chgData name="Aurelien Domont" userId="6da7715ce44349b3" providerId="LiveId" clId="{AFF9B0D5-CA7D-40FB-964A-23276295459E}" dt="2021-07-06T01:57:47.260" v="6193" actId="1038"/>
          <ac:picMkLst>
            <pc:docMk/>
            <pc:sldMk cId="4178836903" sldId="2169"/>
            <ac:picMk id="11" creationId="{F7A9918B-B7CD-4643-8B6A-74AEBFA4B2C2}"/>
          </ac:picMkLst>
        </pc:picChg>
        <pc:cxnChg chg="mod">
          <ac:chgData name="Aurelien Domont" userId="6da7715ce44349b3" providerId="LiveId" clId="{AFF9B0D5-CA7D-40FB-964A-23276295459E}" dt="2021-07-06T01:49:58.373" v="6025"/>
          <ac:cxnSpMkLst>
            <pc:docMk/>
            <pc:sldMk cId="4178836903" sldId="2169"/>
            <ac:cxnSpMk id="9" creationId="{14BBF9DD-58F2-49E1-9965-CAD08C2777D2}"/>
          </ac:cxnSpMkLst>
        </pc:cxnChg>
        <pc:cxnChg chg="del">
          <ac:chgData name="Aurelien Domont" userId="6da7715ce44349b3" providerId="LiveId" clId="{AFF9B0D5-CA7D-40FB-964A-23276295459E}" dt="2021-07-02T08:39:20.765" v="5618" actId="478"/>
          <ac:cxnSpMkLst>
            <pc:docMk/>
            <pc:sldMk cId="4178836903" sldId="2169"/>
            <ac:cxnSpMk id="9" creationId="{29940A68-0B12-4DB4-B6BF-26CE87860A62}"/>
          </ac:cxnSpMkLst>
        </pc:cxnChg>
        <pc:cxnChg chg="mod">
          <ac:chgData name="Aurelien Domont" userId="6da7715ce44349b3" providerId="LiveId" clId="{AFF9B0D5-CA7D-40FB-964A-23276295459E}" dt="2021-07-06T01:49:58.373" v="6025"/>
          <ac:cxnSpMkLst>
            <pc:docMk/>
            <pc:sldMk cId="4178836903" sldId="2169"/>
            <ac:cxnSpMk id="10" creationId="{88BB188B-1F6D-450B-8387-5364B3DC1A89}"/>
          </ac:cxnSpMkLst>
        </pc:cxnChg>
        <pc:cxnChg chg="del">
          <ac:chgData name="Aurelien Domont" userId="6da7715ce44349b3" providerId="LiveId" clId="{AFF9B0D5-CA7D-40FB-964A-23276295459E}" dt="2021-07-02T08:39:20.765" v="5618" actId="478"/>
          <ac:cxnSpMkLst>
            <pc:docMk/>
            <pc:sldMk cId="4178836903" sldId="2169"/>
            <ac:cxnSpMk id="14" creationId="{14CD9B99-0907-4DB9-B10F-F0E0E658423E}"/>
          </ac:cxnSpMkLst>
        </pc:cxnChg>
      </pc:sldChg>
      <pc:sldChg chg="add del">
        <pc:chgData name="Aurelien Domont" userId="6da7715ce44349b3" providerId="LiveId" clId="{AFF9B0D5-CA7D-40FB-964A-23276295459E}" dt="2021-07-05T02:29:39.938" v="5697" actId="47"/>
        <pc:sldMkLst>
          <pc:docMk/>
          <pc:sldMk cId="2294969423" sldId="2170"/>
        </pc:sldMkLst>
      </pc:sldChg>
      <pc:sldChg chg="addSp modSp add mod">
        <pc:chgData name="Aurelien Domont" userId="6da7715ce44349b3" providerId="LiveId" clId="{AFF9B0D5-CA7D-40FB-964A-23276295459E}" dt="2021-07-06T02:07:33.780" v="6238" actId="1036"/>
        <pc:sldMkLst>
          <pc:docMk/>
          <pc:sldMk cId="2678382071" sldId="2170"/>
        </pc:sldMkLst>
        <pc:spChg chg="mod">
          <ac:chgData name="Aurelien Domont" userId="6da7715ce44349b3" providerId="LiveId" clId="{AFF9B0D5-CA7D-40FB-964A-23276295459E}" dt="2021-07-06T02:07:33.780" v="6238" actId="1036"/>
          <ac:spMkLst>
            <pc:docMk/>
            <pc:sldMk cId="2678382071" sldId="2170"/>
            <ac:spMk id="20" creationId="{4B145E06-1CE4-4D20-9711-8C167F887A82}"/>
          </ac:spMkLst>
        </pc:spChg>
        <pc:spChg chg="mod">
          <ac:chgData name="Aurelien Domont" userId="6da7715ce44349b3" providerId="LiveId" clId="{AFF9B0D5-CA7D-40FB-964A-23276295459E}" dt="2021-07-06T01:39:21.490" v="5937"/>
          <ac:spMkLst>
            <pc:docMk/>
            <pc:sldMk cId="2678382071" sldId="2170"/>
            <ac:spMk id="22" creationId="{4DE672E0-B848-4704-8674-02BC1CC880B4}"/>
          </ac:spMkLst>
        </pc:spChg>
        <pc:spChg chg="mod">
          <ac:chgData name="Aurelien Domont" userId="6da7715ce44349b3" providerId="LiveId" clId="{AFF9B0D5-CA7D-40FB-964A-23276295459E}" dt="2021-07-06T01:45:08.378" v="5992" actId="20577"/>
          <ac:spMkLst>
            <pc:docMk/>
            <pc:sldMk cId="2678382071" sldId="2170"/>
            <ac:spMk id="36" creationId="{9CA6E787-8E7B-4BDD-94D3-93BAF40CAFD4}"/>
          </ac:spMkLst>
        </pc:spChg>
        <pc:grpChg chg="add mod">
          <ac:chgData name="Aurelien Domont" userId="6da7715ce44349b3" providerId="LiveId" clId="{AFF9B0D5-CA7D-40FB-964A-23276295459E}" dt="2021-07-06T01:39:21.490" v="5937"/>
          <ac:grpSpMkLst>
            <pc:docMk/>
            <pc:sldMk cId="2678382071" sldId="2170"/>
            <ac:grpSpMk id="21" creationId="{ABE541F4-E3F1-4AC5-8ABF-F3169156ADCA}"/>
          </ac:grpSpMkLst>
        </pc:grpChg>
        <pc:cxnChg chg="mod">
          <ac:chgData name="Aurelien Domont" userId="6da7715ce44349b3" providerId="LiveId" clId="{AFF9B0D5-CA7D-40FB-964A-23276295459E}" dt="2021-07-06T01:39:21.490" v="5937"/>
          <ac:cxnSpMkLst>
            <pc:docMk/>
            <pc:sldMk cId="2678382071" sldId="2170"/>
            <ac:cxnSpMk id="37" creationId="{33E38237-CD78-4D4D-BF52-D7C7F2269871}"/>
          </ac:cxnSpMkLst>
        </pc:cxnChg>
        <pc:cxnChg chg="mod">
          <ac:chgData name="Aurelien Domont" userId="6da7715ce44349b3" providerId="LiveId" clId="{AFF9B0D5-CA7D-40FB-964A-23276295459E}" dt="2021-07-06T01:39:21.490" v="5937"/>
          <ac:cxnSpMkLst>
            <pc:docMk/>
            <pc:sldMk cId="2678382071" sldId="2170"/>
            <ac:cxnSpMk id="38" creationId="{F8230E22-3B9C-4AC7-BA54-E01C7A116954}"/>
          </ac:cxnSpMkLst>
        </pc:cxnChg>
      </pc:sldChg>
      <pc:sldChg chg="addSp delSp modSp add mod">
        <pc:chgData name="Aurelien Domont" userId="6da7715ce44349b3" providerId="LiveId" clId="{AFF9B0D5-CA7D-40FB-964A-23276295459E}" dt="2021-07-06T02:07:06.680" v="6233" actId="1036"/>
        <pc:sldMkLst>
          <pc:docMk/>
          <pc:sldMk cId="4258618140" sldId="2187"/>
        </pc:sldMkLst>
        <pc:spChg chg="mod">
          <ac:chgData name="Aurelien Domont" userId="6da7715ce44349b3" providerId="LiveId" clId="{AFF9B0D5-CA7D-40FB-964A-23276295459E}" dt="2021-07-06T01:43:35.136" v="5964" actId="20577"/>
          <ac:spMkLst>
            <pc:docMk/>
            <pc:sldMk cId="4258618140" sldId="2187"/>
            <ac:spMk id="6" creationId="{58640601-4D44-4B49-A731-7641730D8799}"/>
          </ac:spMkLst>
        </pc:spChg>
        <pc:spChg chg="mod">
          <ac:chgData name="Aurelien Domont" userId="6da7715ce44349b3" providerId="LiveId" clId="{AFF9B0D5-CA7D-40FB-964A-23276295459E}" dt="2021-07-06T02:07:06.680" v="6233" actId="1036"/>
          <ac:spMkLst>
            <pc:docMk/>
            <pc:sldMk cId="4258618140" sldId="2187"/>
            <ac:spMk id="20" creationId="{4B145E06-1CE4-4D20-9711-8C167F887A82}"/>
          </ac:spMkLst>
        </pc:spChg>
        <pc:spChg chg="mod">
          <ac:chgData name="Aurelien Domont" userId="6da7715ce44349b3" providerId="LiveId" clId="{AFF9B0D5-CA7D-40FB-964A-23276295459E}" dt="2021-07-06T01:39:23.224" v="5938"/>
          <ac:spMkLst>
            <pc:docMk/>
            <pc:sldMk cId="4258618140" sldId="2187"/>
            <ac:spMk id="26" creationId="{89B9D8FA-055B-4786-9119-343B9A4FA83C}"/>
          </ac:spMkLst>
        </pc:spChg>
        <pc:spChg chg="mod">
          <ac:chgData name="Aurelien Domont" userId="6da7715ce44349b3" providerId="LiveId" clId="{AFF9B0D5-CA7D-40FB-964A-23276295459E}" dt="2021-07-06T01:45:14.140" v="5999" actId="20577"/>
          <ac:spMkLst>
            <pc:docMk/>
            <pc:sldMk cId="4258618140" sldId="2187"/>
            <ac:spMk id="27" creationId="{1F307364-06D1-4C5B-80F7-6F3566DCF013}"/>
          </ac:spMkLst>
        </pc:spChg>
        <pc:spChg chg="add mod">
          <ac:chgData name="Aurelien Domont" userId="6da7715ce44349b3" providerId="LiveId" clId="{AFF9B0D5-CA7D-40FB-964A-23276295459E}" dt="2021-07-06T02:06:57.812" v="6227"/>
          <ac:spMkLst>
            <pc:docMk/>
            <pc:sldMk cId="4258618140" sldId="2187"/>
            <ac:spMk id="30" creationId="{AE6119AB-6883-4169-8370-D3A496514CD1}"/>
          </ac:spMkLst>
        </pc:spChg>
        <pc:spChg chg="add mod">
          <ac:chgData name="Aurelien Domont" userId="6da7715ce44349b3" providerId="LiveId" clId="{AFF9B0D5-CA7D-40FB-964A-23276295459E}" dt="2021-07-06T02:06:57.812" v="6227"/>
          <ac:spMkLst>
            <pc:docMk/>
            <pc:sldMk cId="4258618140" sldId="2187"/>
            <ac:spMk id="33" creationId="{5BC7619B-12EE-45EC-90CD-328D07D4451F}"/>
          </ac:spMkLst>
        </pc:spChg>
        <pc:spChg chg="del">
          <ac:chgData name="Aurelien Domont" userId="6da7715ce44349b3" providerId="LiveId" clId="{AFF9B0D5-CA7D-40FB-964A-23276295459E}" dt="2021-07-06T02:06:57.421" v="6226" actId="478"/>
          <ac:spMkLst>
            <pc:docMk/>
            <pc:sldMk cId="4258618140" sldId="2187"/>
            <ac:spMk id="39" creationId="{69D38A31-7087-4BC6-A749-CE3E92C5E5AC}"/>
          </ac:spMkLst>
        </pc:spChg>
        <pc:spChg chg="del">
          <ac:chgData name="Aurelien Domont" userId="6da7715ce44349b3" providerId="LiveId" clId="{AFF9B0D5-CA7D-40FB-964A-23276295459E}" dt="2021-07-06T02:06:57.421" v="6226" actId="478"/>
          <ac:spMkLst>
            <pc:docMk/>
            <pc:sldMk cId="4258618140" sldId="2187"/>
            <ac:spMk id="42" creationId="{541AAE88-AB15-4CF5-907E-50289267AA28}"/>
          </ac:spMkLst>
        </pc:spChg>
        <pc:grpChg chg="add mod">
          <ac:chgData name="Aurelien Domont" userId="6da7715ce44349b3" providerId="LiveId" clId="{AFF9B0D5-CA7D-40FB-964A-23276295459E}" dt="2021-07-06T01:39:23.224" v="5938"/>
          <ac:grpSpMkLst>
            <pc:docMk/>
            <pc:sldMk cId="4258618140" sldId="2187"/>
            <ac:grpSpMk id="25" creationId="{580D2986-90B8-49CB-9D7C-E3CD562E7128}"/>
          </ac:grpSpMkLst>
        </pc:grpChg>
        <pc:cxnChg chg="mod">
          <ac:chgData name="Aurelien Domont" userId="6da7715ce44349b3" providerId="LiveId" clId="{AFF9B0D5-CA7D-40FB-964A-23276295459E}" dt="2021-07-06T01:39:23.224" v="5938"/>
          <ac:cxnSpMkLst>
            <pc:docMk/>
            <pc:sldMk cId="4258618140" sldId="2187"/>
            <ac:cxnSpMk id="28" creationId="{B6436C00-3644-4C3F-A09C-F58808116780}"/>
          </ac:cxnSpMkLst>
        </pc:cxnChg>
        <pc:cxnChg chg="mod">
          <ac:chgData name="Aurelien Domont" userId="6da7715ce44349b3" providerId="LiveId" clId="{AFF9B0D5-CA7D-40FB-964A-23276295459E}" dt="2021-07-06T01:39:23.224" v="5938"/>
          <ac:cxnSpMkLst>
            <pc:docMk/>
            <pc:sldMk cId="4258618140" sldId="2187"/>
            <ac:cxnSpMk id="29" creationId="{B053B582-54F5-4610-B47A-710CBEAF9720}"/>
          </ac:cxnSpMkLst>
        </pc:cxnChg>
      </pc:sldChg>
      <pc:sldChg chg="modSp add mod">
        <pc:chgData name="Aurelien Domont" userId="6da7715ce44349b3" providerId="LiveId" clId="{AFF9B0D5-CA7D-40FB-964A-23276295459E}" dt="2021-07-06T02:00:05.018" v="6199" actId="108"/>
        <pc:sldMkLst>
          <pc:docMk/>
          <pc:sldMk cId="1390113814" sldId="2188"/>
        </pc:sldMkLst>
        <pc:spChg chg="mod">
          <ac:chgData name="Aurelien Domont" userId="6da7715ce44349b3" providerId="LiveId" clId="{AFF9B0D5-CA7D-40FB-964A-23276295459E}" dt="2021-07-06T02:00:05.018" v="6199" actId="108"/>
          <ac:spMkLst>
            <pc:docMk/>
            <pc:sldMk cId="1390113814" sldId="2188"/>
            <ac:spMk id="6" creationId="{61BD4388-6F9D-4C31-90C2-680E7FD1FB33}"/>
          </ac:spMkLst>
        </pc:spChg>
        <pc:spChg chg="mod">
          <ac:chgData name="Aurelien Domont" userId="6da7715ce44349b3" providerId="LiveId" clId="{AFF9B0D5-CA7D-40FB-964A-23276295459E}" dt="2021-07-06T02:00:01.591" v="6198" actId="108"/>
          <ac:spMkLst>
            <pc:docMk/>
            <pc:sldMk cId="1390113814" sldId="2188"/>
            <ac:spMk id="7" creationId="{058165D9-C6C5-41CE-8E4E-2D521B573407}"/>
          </ac:spMkLst>
        </pc:spChg>
        <pc:spChg chg="mod">
          <ac:chgData name="Aurelien Domont" userId="6da7715ce44349b3" providerId="LiveId" clId="{AFF9B0D5-CA7D-40FB-964A-23276295459E}" dt="2021-07-06T01:59:58.054" v="6197" actId="20577"/>
          <ac:spMkLst>
            <pc:docMk/>
            <pc:sldMk cId="1390113814" sldId="2188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AFF9B0D5-CA7D-40FB-964A-23276295459E}" dt="2021-07-06T02:03:39.483" v="6225" actId="20577"/>
        <pc:sldMkLst>
          <pc:docMk/>
          <pc:sldMk cId="1002747840" sldId="2189"/>
        </pc:sldMkLst>
        <pc:spChg chg="mod">
          <ac:chgData name="Aurelien Domont" userId="6da7715ce44349b3" providerId="LiveId" clId="{AFF9B0D5-CA7D-40FB-964A-23276295459E}" dt="2021-07-06T02:03:37.384" v="6223" actId="108"/>
          <ac:spMkLst>
            <pc:docMk/>
            <pc:sldMk cId="1002747840" sldId="2189"/>
            <ac:spMk id="7" creationId="{058165D9-C6C5-41CE-8E4E-2D521B573407}"/>
          </ac:spMkLst>
        </pc:spChg>
        <pc:spChg chg="mod">
          <ac:chgData name="Aurelien Domont" userId="6da7715ce44349b3" providerId="LiveId" clId="{AFF9B0D5-CA7D-40FB-964A-23276295459E}" dt="2021-07-06T02:03:34.241" v="6222" actId="108"/>
          <ac:spMkLst>
            <pc:docMk/>
            <pc:sldMk cId="1002747840" sldId="2189"/>
            <ac:spMk id="8" creationId="{5E265501-976D-4DCF-A6F8-A1059EF162B8}"/>
          </ac:spMkLst>
        </pc:spChg>
        <pc:spChg chg="mod">
          <ac:chgData name="Aurelien Domont" userId="6da7715ce44349b3" providerId="LiveId" clId="{AFF9B0D5-CA7D-40FB-964A-23276295459E}" dt="2021-07-06T02:03:39.483" v="6225" actId="20577"/>
          <ac:spMkLst>
            <pc:docMk/>
            <pc:sldMk cId="1002747840" sldId="2189"/>
            <ac:spMk id="16" creationId="{6C2BB713-9637-4B9B-938F-E9768876782A}"/>
          </ac:spMkLst>
        </pc:spChg>
      </pc:sldChg>
      <pc:sldChg chg="addSp delSp modSp add mod">
        <pc:chgData name="Aurelien Domont" userId="6da7715ce44349b3" providerId="LiveId" clId="{AFF9B0D5-CA7D-40FB-964A-23276295459E}" dt="2021-07-06T03:57:00.268" v="6367" actId="20577"/>
        <pc:sldMkLst>
          <pc:docMk/>
          <pc:sldMk cId="2349979947" sldId="2190"/>
        </pc:sldMkLst>
        <pc:spChg chg="mod">
          <ac:chgData name="Aurelien Domont" userId="6da7715ce44349b3" providerId="LiveId" clId="{AFF9B0D5-CA7D-40FB-964A-23276295459E}" dt="2021-07-06T03:57:00.268" v="6367" actId="20577"/>
          <ac:spMkLst>
            <pc:docMk/>
            <pc:sldMk cId="2349979947" sldId="2190"/>
            <ac:spMk id="16" creationId="{6C2BB713-9637-4B9B-938F-E9768876782A}"/>
          </ac:spMkLst>
        </pc:sp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2" creationId="{84E5CC93-D5AA-458E-BB87-714F1E53178E}"/>
          </ac:picMkLst>
        </pc:pic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3" creationId="{097ECFA8-B152-4816-9DCE-7FB11FD32803}"/>
          </ac:picMkLst>
        </pc:pic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4" creationId="{71090539-4853-42C0-8BB5-619FDF372F84}"/>
          </ac:picMkLst>
        </pc:pic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11" creationId="{F7A9918B-B7CD-4643-8B6A-74AEBFA4B2C2}"/>
          </ac:picMkLst>
        </pc:picChg>
        <pc:picChg chg="add mod ord">
          <ac:chgData name="Aurelien Domont" userId="6da7715ce44349b3" providerId="LiveId" clId="{AFF9B0D5-CA7D-40FB-964A-23276295459E}" dt="2021-07-06T03:34:02.278" v="6274" actId="167"/>
          <ac:picMkLst>
            <pc:docMk/>
            <pc:sldMk cId="2349979947" sldId="2190"/>
            <ac:picMk id="12" creationId="{FE9B9E94-357E-4B04-9B76-B64A2AD3319C}"/>
          </ac:picMkLst>
        </pc:picChg>
        <pc:picChg chg="add mod ord">
          <ac:chgData name="Aurelien Domont" userId="6da7715ce44349b3" providerId="LiveId" clId="{AFF9B0D5-CA7D-40FB-964A-23276295459E}" dt="2021-07-06T03:34:02.278" v="6274" actId="167"/>
          <ac:picMkLst>
            <pc:docMk/>
            <pc:sldMk cId="2349979947" sldId="2190"/>
            <ac:picMk id="14" creationId="{4D3A6F3A-8786-441E-90A3-61E8C8D72553}"/>
          </ac:picMkLst>
        </pc:picChg>
        <pc:picChg chg="add mod ord">
          <ac:chgData name="Aurelien Domont" userId="6da7715ce44349b3" providerId="LiveId" clId="{AFF9B0D5-CA7D-40FB-964A-23276295459E}" dt="2021-07-06T03:34:02.278" v="6274" actId="167"/>
          <ac:picMkLst>
            <pc:docMk/>
            <pc:sldMk cId="2349979947" sldId="2190"/>
            <ac:picMk id="15" creationId="{659A23D5-65DD-4CEA-855D-90A0B5E2BE2A}"/>
          </ac:picMkLst>
        </pc:picChg>
        <pc:picChg chg="add del mod ord">
          <ac:chgData name="Aurelien Domont" userId="6da7715ce44349b3" providerId="LiveId" clId="{AFF9B0D5-CA7D-40FB-964A-23276295459E}" dt="2021-07-06T03:37:32.824" v="6293" actId="167"/>
          <ac:picMkLst>
            <pc:docMk/>
            <pc:sldMk cId="2349979947" sldId="2190"/>
            <ac:picMk id="17" creationId="{3A1116B0-8834-4AD7-B5A9-FC56ADD00397}"/>
          </ac:picMkLst>
        </pc:picChg>
        <pc:picChg chg="add del mod ord">
          <ac:chgData name="Aurelien Domont" userId="6da7715ce44349b3" providerId="LiveId" clId="{AFF9B0D5-CA7D-40FB-964A-23276295459E}" dt="2021-07-06T03:37:53.470" v="6299" actId="478"/>
          <ac:picMkLst>
            <pc:docMk/>
            <pc:sldMk cId="2349979947" sldId="2190"/>
            <ac:picMk id="19" creationId="{510380BB-04DC-414E-AEA0-0A102EFB8B64}"/>
          </ac:picMkLst>
        </pc:picChg>
      </pc:sldChg>
      <pc:sldChg chg="addSp delSp modSp add mod">
        <pc:chgData name="Aurelien Domont" userId="6da7715ce44349b3" providerId="LiveId" clId="{AFF9B0D5-CA7D-40FB-964A-23276295459E}" dt="2021-07-06T03:56:34.192" v="6363" actId="20577"/>
        <pc:sldMkLst>
          <pc:docMk/>
          <pc:sldMk cId="3340324934" sldId="2191"/>
        </pc:sldMkLst>
        <pc:spChg chg="mod">
          <ac:chgData name="Aurelien Domont" userId="6da7715ce44349b3" providerId="LiveId" clId="{AFF9B0D5-CA7D-40FB-964A-23276295459E}" dt="2021-07-06T03:56:34.192" v="6363" actId="20577"/>
          <ac:spMkLst>
            <pc:docMk/>
            <pc:sldMk cId="3340324934" sldId="2191"/>
            <ac:spMk id="16" creationId="{6C2BB713-9637-4B9B-938F-E9768876782A}"/>
          </ac:spMkLst>
        </pc:spChg>
        <pc:picChg chg="add mod ord">
          <ac:chgData name="Aurelien Domont" userId="6da7715ce44349b3" providerId="LiveId" clId="{AFF9B0D5-CA7D-40FB-964A-23276295459E}" dt="2021-07-06T03:44:15.886" v="6353" actId="108"/>
          <ac:picMkLst>
            <pc:docMk/>
            <pc:sldMk cId="3340324934" sldId="2191"/>
            <ac:picMk id="3" creationId="{15370C7C-145F-4349-AE96-1E50E9582145}"/>
          </ac:picMkLst>
        </pc:picChg>
        <pc:picChg chg="add mod ord">
          <ac:chgData name="Aurelien Domont" userId="6da7715ce44349b3" providerId="LiveId" clId="{AFF9B0D5-CA7D-40FB-964A-23276295459E}" dt="2021-07-06T03:44:16.372" v="6354" actId="108"/>
          <ac:picMkLst>
            <pc:docMk/>
            <pc:sldMk cId="3340324934" sldId="2191"/>
            <ac:picMk id="11" creationId="{25D5DDB8-F1BB-4113-A087-0C0A746C7EB2}"/>
          </ac:picMkLst>
        </pc:picChg>
        <pc:picChg chg="del ord">
          <ac:chgData name="Aurelien Domont" userId="6da7715ce44349b3" providerId="LiveId" clId="{AFF9B0D5-CA7D-40FB-964A-23276295459E}" dt="2021-07-06T03:44:09.620" v="6352" actId="478"/>
          <ac:picMkLst>
            <pc:docMk/>
            <pc:sldMk cId="3340324934" sldId="2191"/>
            <ac:picMk id="12" creationId="{FE9B9E94-357E-4B04-9B76-B64A2AD3319C}"/>
          </ac:picMkLst>
        </pc:picChg>
        <pc:picChg chg="del ord">
          <ac:chgData name="Aurelien Domont" userId="6da7715ce44349b3" providerId="LiveId" clId="{AFF9B0D5-CA7D-40FB-964A-23276295459E}" dt="2021-07-06T03:44:09.620" v="6352" actId="478"/>
          <ac:picMkLst>
            <pc:docMk/>
            <pc:sldMk cId="3340324934" sldId="2191"/>
            <ac:picMk id="14" creationId="{4D3A6F3A-8786-441E-90A3-61E8C8D72553}"/>
          </ac:picMkLst>
        </pc:picChg>
        <pc:picChg chg="del ord">
          <ac:chgData name="Aurelien Domont" userId="6da7715ce44349b3" providerId="LiveId" clId="{AFF9B0D5-CA7D-40FB-964A-23276295459E}" dt="2021-07-06T03:44:09.620" v="6352" actId="478"/>
          <ac:picMkLst>
            <pc:docMk/>
            <pc:sldMk cId="3340324934" sldId="2191"/>
            <ac:picMk id="15" creationId="{659A23D5-65DD-4CEA-855D-90A0B5E2BE2A}"/>
          </ac:picMkLst>
        </pc:picChg>
        <pc:picChg chg="del">
          <ac:chgData name="Aurelien Domont" userId="6da7715ce44349b3" providerId="LiveId" clId="{AFF9B0D5-CA7D-40FB-964A-23276295459E}" dt="2021-07-06T03:38:00.537" v="6301" actId="478"/>
          <ac:picMkLst>
            <pc:docMk/>
            <pc:sldMk cId="3340324934" sldId="2191"/>
            <ac:picMk id="17" creationId="{3A1116B0-8834-4AD7-B5A9-FC56ADD00397}"/>
          </ac:picMkLst>
        </pc:picChg>
        <pc:picChg chg="mod ord">
          <ac:chgData name="Aurelien Domont" userId="6da7715ce44349b3" providerId="LiveId" clId="{AFF9B0D5-CA7D-40FB-964A-23276295459E}" dt="2021-07-06T03:44:06.370" v="6351" actId="171"/>
          <ac:picMkLst>
            <pc:docMk/>
            <pc:sldMk cId="3340324934" sldId="2191"/>
            <ac:picMk id="19" creationId="{510380BB-04DC-414E-AEA0-0A102EFB8B64}"/>
          </ac:picMkLst>
        </pc:picChg>
        <pc:picChg chg="add mod ord">
          <ac:chgData name="Aurelien Domont" userId="6da7715ce44349b3" providerId="LiveId" clId="{AFF9B0D5-CA7D-40FB-964A-23276295459E}" dt="2021-07-06T03:44:16.877" v="6355" actId="108"/>
          <ac:picMkLst>
            <pc:docMk/>
            <pc:sldMk cId="3340324934" sldId="2191"/>
            <ac:picMk id="20" creationId="{6A38595B-0C20-4D15-AA90-C5B669693A38}"/>
          </ac:picMkLst>
        </pc:picChg>
      </pc:sldChg>
      <pc:sldChg chg="addSp delSp modSp add del mod">
        <pc:chgData name="Aurelien Domont" userId="6da7715ce44349b3" providerId="LiveId" clId="{AFF9B0D5-CA7D-40FB-964A-23276295459E}" dt="2021-07-06T05:45:33.756" v="7160" actId="47"/>
        <pc:sldMkLst>
          <pc:docMk/>
          <pc:sldMk cId="3379055426" sldId="2192"/>
        </pc:sldMkLst>
        <pc:spChg chg="mod">
          <ac:chgData name="Aurelien Domont" userId="6da7715ce44349b3" providerId="LiveId" clId="{AFF9B0D5-CA7D-40FB-964A-23276295459E}" dt="2021-07-06T04:49:53.743" v="6421" actId="20577"/>
          <ac:spMkLst>
            <pc:docMk/>
            <pc:sldMk cId="3379055426" sldId="2192"/>
            <ac:spMk id="16" creationId="{6C2BB713-9637-4B9B-938F-E9768876782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" creationId="{B771EFD1-480A-49D1-8311-D1631ADDCAE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" creationId="{65469F66-D281-4ED1-A6A4-53FB0256ADF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" creationId="{23E57CB2-F110-433B-8E68-828A876E73F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" creationId="{74E6FD3E-697E-437E-BCCF-D4036C53196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" creationId="{92AABBE3-B444-4BEC-82DD-5644BBA7A77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" creationId="{97B58A29-1D94-499B-8733-3910F9AD6F4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" creationId="{5D999E87-6D47-44EB-AA80-FAB1044E50B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9" creationId="{3C06A61B-7951-49EC-954F-20BCE045D88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0" creationId="{CEF0D8C1-C31C-434B-AE35-55B3471F9C9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1" creationId="{811A9C04-9509-4F96-B5E1-2683FDB0AA6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3" creationId="{7C047B58-FCD5-4D1B-B651-61CF38F9DD8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4" creationId="{2E14BF7D-6F99-4D98-A8DA-8EB723F8771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5" creationId="{3882020F-C56B-44AB-8637-035FEE81CF3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7" creationId="{BD423BD5-6D69-49BE-A67A-B9649D95191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8" creationId="{E0BF46F7-A9D8-4C09-978A-75A9D4B5E44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9" creationId="{0C3749C6-D983-40E9-B6FE-9E314EE56A3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0" creationId="{1CE55E94-F6B3-43A5-8C94-74729058DA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1" creationId="{6EBB98D6-908A-4551-B26F-10C6768274F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2" creationId="{E4CBA9D9-791A-4B6D-A6F5-C58BC119643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4" creationId="{2324D931-C446-4406-A3B2-7EEF109E133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7" creationId="{066BFCAB-9359-47E6-85A9-6446EEE4768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8" creationId="{596BEE1A-9790-483E-96EB-CDEEB9ED8E4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9" creationId="{6C51E034-D463-40F4-A6FE-1AD0EECC2E1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0" creationId="{4DB629D9-D3D7-42A5-B2E5-376B2910CE6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1" creationId="{0508A820-EDC6-4023-B09A-569DACAA89B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2" creationId="{0598C82B-5B19-4ECD-A9F9-210E620301C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3" creationId="{69AA8412-F4FC-49E9-8098-BA5431F25AE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4" creationId="{FD10D8C9-608D-4706-9C95-87B692F7BC5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5" creationId="{F96E8F5D-13F7-4F5F-B0C7-43F495BBE50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6" creationId="{1944C13D-7976-4FFF-9C1A-50B916EBC48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7" creationId="{596979FA-5547-40C5-9D2D-03C54409A1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8" creationId="{E2562560-CC9C-4394-9A98-D6C4F0C35DF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9" creationId="{FBF447C9-790F-4E87-A5F0-245B9CBB2C5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0" creationId="{70CE53DD-117C-493D-AD1D-1AB8E2D5511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2" creationId="{4656F7B9-B091-4F59-B888-6DEA15CF287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3" creationId="{F743838F-4369-4298-8BDF-24B1A81D7CC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4" creationId="{84D7C36D-FE20-4E88-8829-94E2EC4CEE7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5" creationId="{8AA055DE-5DEA-480F-9D58-EB35AB60A4A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6" creationId="{5B305A7E-46F5-43B2-ACBF-71567A90F96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7" creationId="{7455C64C-AFC5-4C29-93D3-4332E1BAEE9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8" creationId="{5E8A23BD-D375-4967-ACA7-E1CCA49242E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9" creationId="{4030F0B9-06DB-4A6A-968B-33EF931731C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0" creationId="{A2C60355-D617-4490-8E3E-1D6F4CB8A2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1" creationId="{CA9EB5AA-76BB-4143-A0DE-34A4DC0010A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2" creationId="{966691BF-5126-4A33-8916-C81706F25C9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3" creationId="{5390EC5E-7055-4804-84A3-7E70E3904E9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4" creationId="{E65D02F2-FDEC-478F-8C7C-EF6B6E889CD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5" creationId="{10C7DD6A-EDF4-4E97-BF30-74BFFFD3644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6" creationId="{12F4E801-8132-4F0C-B8DA-A36568ECCC4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7" creationId="{C5615F12-CE48-4C91-BA28-3C8B3DDC3F5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8" creationId="{22A89C04-5EB4-44E9-A32D-27408ED8CB5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9" creationId="{56A025F8-D352-4D26-97E8-71FDE85A31B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0" creationId="{9A3331CC-8CC9-46B2-B479-BF612DE96A4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1" creationId="{AE32AB5F-2BE3-4D9C-A624-18BF13205C3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2" creationId="{3F3D471F-019C-499B-849A-3C0555B66D7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3" creationId="{89794A8E-92B0-4F14-BCC8-8E09C4E8EB7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4" creationId="{7CD25A7C-1C59-4AF8-8A24-ADDD1091CAA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5" creationId="{C4050E01-DB91-4148-825F-4017F471C32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6" creationId="{7EA15ED6-46A5-43A0-B67C-11BDD4BF88E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7" creationId="{FC2D8D47-DCE8-41DC-B4D8-D14FEC5472C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8" creationId="{4C383830-3025-4A26-80CA-D9DD9FFC436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9" creationId="{0A9438A0-9A3F-408D-8570-5955D7D534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0" creationId="{CCF6A828-CC27-43AB-81DC-A5E4A45B803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1" creationId="{EDB86CFC-23D4-4473-B846-3DA806F5108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2" creationId="{9E27841A-5BBF-4869-8CB3-6677215968F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3" creationId="{848846B1-BA0C-4806-B1DC-2FCF6F3B46E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4" creationId="{B32F85AD-308E-4382-B339-9D0E3532E3B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5" creationId="{F081A304-2C8F-4778-8EC0-5DCF78B4211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6" creationId="{5B9E9E35-688A-4E46-AD17-958B53B2A9B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7" creationId="{A76194B1-A38E-4BB8-8B3F-AE4835F7AC4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8" creationId="{55792372-BB82-4ECA-8C77-C82715CC6A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9" creationId="{90896AAA-AEDF-49B2-8503-7CA2DF421D3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0" creationId="{4E419948-B362-4317-B94F-EB6EEF93D5F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1" creationId="{F0E0088D-D528-4463-A7EF-0CD7ED8D819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2" creationId="{75C95256-B79D-4118-9B21-A8859DCC263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3" creationId="{65BF41B5-CFC3-43AD-A8E2-6B26904CC06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4" creationId="{E1AE7574-E20A-43ED-86E1-67FF47EE59E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5" creationId="{1CA686F3-4B48-4FCA-9990-4A687AED190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6" creationId="{230C6DFA-375D-4416-9E4E-067C619F1BF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7" creationId="{77E2697D-9897-4A3B-A255-C96C05DFB65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8" creationId="{FC706995-E8AA-43E2-8476-DA80D70E249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9" creationId="{2B07D6D4-194B-4146-A1AE-508C73D392A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0" creationId="{C5A5E31E-BC3F-4031-B4BD-96322C581A0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1" creationId="{632D5824-AD44-4E4F-AF47-F307A1FA0E2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2" creationId="{6F83E090-B402-410D-AFC1-C419C6F8E4C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3" creationId="{651407DE-861B-4C05-842D-A44085EFF36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4" creationId="{783A9BBE-48DB-4AE1-8421-30B47ED6B06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5" creationId="{BF2EC1BE-F8C3-4855-8D2E-4C26D0C250B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6" creationId="{3B25F4FD-B5EE-4E5D-A3A5-1ABDEAD5F06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7" creationId="{4150CB89-F485-436E-97D1-4FB1609F498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8" creationId="{49E8AE7E-7F5A-4A11-9512-6C7079D464A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9" creationId="{82534475-B316-4ED5-BDD3-1061DFF1329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0" creationId="{894A3104-C61D-488C-BD9D-15689C08299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1" creationId="{19010C2B-F3E6-484A-A3F9-6592B0831B4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2" creationId="{39FEB8F0-3332-4428-AEEA-741658E4FDC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3" creationId="{7499BFA2-541F-43A4-8B7D-28E1FABD6E2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5" creationId="{2C9E90AE-B1D5-4F9C-BFCF-DCC3E4BCD4E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7" creationId="{378FBEAB-0A9B-4243-98E7-1FEF1F9571B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9" creationId="{C5A5F10F-556A-4AE1-A4ED-861F2945FF0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1" creationId="{350273C7-56F8-484A-88FB-9CC9C5B030D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2" creationId="{BC6174EC-1DA5-446D-880E-B7EA6E2BB1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3" creationId="{512FA95D-9A9C-4659-B363-4DC368AFFBC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4" creationId="{CF8EEA38-F094-4816-918B-C5ECB1F0461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5" creationId="{B477CF5F-A7AF-43CE-8582-FAB48185813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6" creationId="{3A8CD19A-AC64-4532-A17D-3F89472AF0E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7" creationId="{CAE23BEF-B51F-4CF7-8DEE-8420F4B8CC4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8" creationId="{985FBAC8-C39C-4F76-BF89-235488B6688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9" creationId="{B2B8939D-415D-4191-AE3F-6BF5ACDF306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0" creationId="{7752E709-95CB-4091-AB1E-A5086F134AC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2" creationId="{BDDB4D79-5A59-41A1-B66F-8B658F59082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3" creationId="{1D1E885F-74AF-4A3B-95AC-54D9FE34076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4" creationId="{D74FA934-62DC-4E2B-BDE0-202AF8CB9A4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5" creationId="{16FC8BD7-DDAE-44C2-B89E-C4034E712BE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6" creationId="{41B138E6-41E9-4AF6-A29C-165D08513D2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7" creationId="{1C8FEC86-DF11-4FE6-A64F-AF70A02773B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8" creationId="{7BFF15EB-F63D-4FAD-BCE0-0A283F0ACEC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9" creationId="{62DDC113-79AB-4405-8A05-4AF26497DD0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0" creationId="{4365A171-557B-4606-A3EB-AF8BC228820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1" creationId="{EEFF0CDB-017C-4A77-BB78-49C95981088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2" creationId="{8D03B6DB-D72C-4AB8-97B4-A9A20666B2C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3" creationId="{A259B0CE-4E24-4931-A600-EAB7EE0723C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4" creationId="{ABD91C8D-FC50-47FE-A53C-35530B9E6A4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5" creationId="{25B903D7-A74D-430A-8D7F-DCA08103D52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6" creationId="{C0E7B4A7-61CE-422B-839A-837E9A743E3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7" creationId="{3D657CDC-FAA8-4289-82C8-81810B6165D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8" creationId="{B17EB213-4950-42CF-9699-018AD4232B1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9" creationId="{8CA38F92-3E3C-43A5-90D1-5E8700DAB38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0" creationId="{23EDF098-AA5C-4CC4-A915-B946B8E572B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1" creationId="{D56F5FB8-B708-4119-9373-80F1E11159C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2" creationId="{BA676946-82C1-4EBE-B717-21F7E57ED27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3" creationId="{60EB86DE-7405-492F-9024-C261802C202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4" creationId="{BDBE1806-5F82-440C-B248-5D0992D119E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5" creationId="{0CB2C5FB-2220-441B-A825-6A63E1B5CE8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6" creationId="{9FACDA72-1072-4DEE-B174-2A6F35E08C8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7" creationId="{52057368-38F5-4FC7-89D7-71864828E19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8" creationId="{99762878-AFAD-4D28-9244-65AC64A29FA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9" creationId="{C6E0C370-1AE7-4B71-B582-54390B3E975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0" creationId="{89396123-E9E1-41A2-9494-24C475D336F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1" creationId="{823194CC-6111-4944-B231-CB5B35E2896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2" creationId="{4D754B61-CAB2-4876-AD55-A97070A02FF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3" creationId="{92A6D021-607D-4A3A-9541-A61366B4451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4" creationId="{7CC84701-7558-4313-BB29-B13B7F846F1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5" creationId="{03B4CC72-2489-41BE-A1DA-877AE3EA9DF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6" creationId="{47D6B5AF-3BB1-4F40-80A3-E718FFB2BBF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7" creationId="{4DCF5414-4CBF-45A5-B95E-85CED01A12B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8" creationId="{2678A3CD-131E-4EDF-A30A-53317901811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9" creationId="{46610A0A-B8CE-41D9-91CC-A7B06C419CA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0" creationId="{808EFAEC-EFEE-465B-9F07-B3397A83BC3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1" creationId="{B0EA3EF7-DB1A-48F5-8310-A1017DB54E6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2" creationId="{16651324-4218-4C8D-848C-EC8DDB56376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3" creationId="{2D1C61DB-DB9D-4FCD-A59D-5698A652290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4" creationId="{72B0C558-0604-4F2E-8F50-BDE457973D3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5" creationId="{D5A1BFFB-B8FB-4800-BC3D-EE46E81A543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6" creationId="{27671FE5-EDAE-4670-BEF7-A720F30F366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7" creationId="{27C7BAE0-2998-41E2-ADC9-71D60AE6372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8" creationId="{3800CFC3-6C5F-4327-98F1-E4477F94260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9" creationId="{BD3D661E-CE23-4A3A-862C-A4530123CB0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0" creationId="{1BF0723C-6F69-4D40-B7B3-E15B38FA66D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1" creationId="{21AE6CAF-9A47-4EE1-A1D6-3C8CED98D24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2" creationId="{2373E3CE-B579-453F-89B1-B7E1CF0C0EB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3" creationId="{E0AE16BE-90F8-40E4-A739-7DAF8EA978B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4" creationId="{3E230726-7D04-48F3-A135-4F04E3E248F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5" creationId="{E435410C-3B5C-4565-9E8D-60834A32126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6" creationId="{46F36E87-E302-412F-BB37-08F349D2161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7" creationId="{C7ACEAE5-152B-49D2-8F07-FFD86767A0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8" creationId="{7104C839-48BF-4BA4-BF53-6AFD43BAED3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9" creationId="{0A27973E-F093-4443-948D-6F5E0135F59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0" creationId="{0C367E29-D0D4-4244-8139-3B655EF87F1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1" creationId="{1726BD3E-877B-4098-9E8D-71732ED9C71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2" creationId="{417DE7D5-87EB-4446-90B6-E380A5B3F9E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3" creationId="{F8234C4E-1277-4509-A12C-171C20B6137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4" creationId="{6CD2DCA3-6635-45E3-BAA3-A827175806C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5" creationId="{D0EE785C-B516-4A7F-9FD6-932B3B08239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6" creationId="{69F9CB50-A8DF-4971-A970-65EBA0D3708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7" creationId="{3A5C33E5-CB47-49F3-9703-5FABDAB57EC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8" creationId="{85E7AF01-E658-4CF9-91AD-AAA4D538385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9" creationId="{80F74A73-23C5-4D68-9D8A-23DC7F7E918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0" creationId="{1C34C438-EB6D-4823-B4F5-43F46CB4F13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1" creationId="{62858DE9-8389-40F0-B1B8-BFA176A1109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2" creationId="{35FA5D01-3B25-4F8D-9A0F-7FFF9F3BE0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3" creationId="{F07095F0-5F81-4E87-8152-6FA12EAABAA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4" creationId="{6D88220E-9BA8-4095-9058-A84188E97F6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5" creationId="{FA0F2FA6-CE91-4B62-9BA1-78C7638E762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6" creationId="{02503988-11CB-45E2-8EBE-8DB0875F0A4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7" creationId="{A2D11221-FFDD-40DB-8071-FB96292CF32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8" creationId="{F89419B7-8002-4A66-8E1F-B15EA2EF54C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9" creationId="{2104C40C-A33D-4E6D-9D98-BC4F83960F51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0" creationId="{AE069398-DCB6-4C53-AE55-140B6878653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1" creationId="{EA413C8C-5A81-4A84-9508-42F13C4C026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2" creationId="{6F011FD1-4573-4382-B364-DB6F8260701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3" creationId="{B9602CC6-B71E-4ED6-9041-140D27C4E4E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4" creationId="{E713764D-8FD9-4C54-A023-D80F71593A6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5" creationId="{40198528-FAD1-4DF1-BE03-1F5CE0DF511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6" creationId="{FF7CCC2D-2F86-44F8-B589-36D24F6BD3B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7" creationId="{355CCFEB-EFF7-4767-B082-7F25BBEF186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8" creationId="{3FEB8FE2-A508-41DC-AE11-14061B6EABC9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9" creationId="{B264EC5D-A47A-48AA-B4C5-9EF7968CDDAF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0" creationId="{4F1CECCC-B7AE-4091-99C7-3D8A5750949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1" creationId="{9D9F2C61-12B2-4CFC-9F59-A5D24696291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2" creationId="{038E4FC5-3825-4C9D-9C75-4359EB4187B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3" creationId="{63489E06-23B3-4FDE-985E-9363B3EC7F8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4" creationId="{79221B8C-59C2-42DB-BF50-6900D8AEB4D8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5" creationId="{8A915F83-38FE-40E1-B654-F200BD2669B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6" creationId="{9A5EE1FD-B9F0-4328-8FAD-B440111B9798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7" creationId="{B1485E9E-08D1-4969-9994-4C08790CE3A9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8" creationId="{F9145D23-22F4-41E3-9E8D-910174B5DBB8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9" creationId="{A9742A27-D2E8-4A37-AA55-EB1308A6DA7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0" creationId="{A2DC8A6B-373E-4CAF-A535-BF54006E617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1" creationId="{48655EB1-407B-43A0-8829-E858DAE63D9D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2" creationId="{B70CA7DC-536C-4452-8F7E-D2876C88E09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3" creationId="{9790A531-4D0D-41B6-94DE-DB614334F6D0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4" creationId="{98351D31-2037-45FE-AB54-87A5B51FBFDF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5" creationId="{8C3D4576-60DD-4805-812B-AA65ED83D9B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6" creationId="{2195CA09-EFC7-4007-A7A7-10C502924E4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7" creationId="{07127B3D-D91B-4436-9C4C-CEB05642FF4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8" creationId="{C7E65F49-CA35-4C6F-99EF-A86431087C5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9" creationId="{3CF81980-D6F0-499D-B952-0CCA99157FF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0" creationId="{66CF125E-C950-46E1-AEB4-530BE2B6DB79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1" creationId="{E83F2309-B010-4B76-8F84-FB31FFAF091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2" creationId="{BD6CF8CB-15A3-4ABD-AA76-432170908F0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3" creationId="{16517373-9328-4E32-9357-EDC75FAFB99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4" creationId="{5C6F5702-5102-42BA-987D-E7B0AA7A99F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5" creationId="{1DAAAD97-AE64-4EA0-95F4-DD6481A8F3F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6" creationId="{FD77AEA8-D3B9-4B03-AAC1-D84292DB27F0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7" creationId="{C127406E-D506-41FE-A862-08B214DF705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8" creationId="{5DDC51BE-2E59-4C3A-8264-BEC5D35F1086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9" creationId="{CA2283F1-72A8-46AB-A13B-BA6216774DA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0" creationId="{19CBF73B-27AF-4FD5-B04C-456C7BBDDE9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1" creationId="{CB30A25C-C0BC-40C3-85C7-63C06C8CA69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2" creationId="{BB2E7AAB-6375-440E-8852-5A60B21E702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3" creationId="{961625A5-71D7-4650-BA45-0A4B47CD917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4" creationId="{448618C1-00F6-490C-AD92-E80B56FBF251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5" creationId="{AE388402-2123-4899-BB6F-5DEB0273117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6" creationId="{CC680189-A550-4858-B692-80EA0F57D67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7" creationId="{BEC58D69-1743-401D-995B-3DABB105C38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8" creationId="{B2308CBA-51DB-4327-8C83-430D1BC9B381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9" creationId="{02D02326-76F8-489F-902D-E13229606DF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0" creationId="{82A7A041-2D44-4311-932E-FF002429C68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1" creationId="{B75C87F4-4973-47EC-BF93-3A8A9833081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2" creationId="{C9320842-AFED-47CC-94CD-949B95E4D93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3" creationId="{ED2EA6C0-2417-4198-9D9D-07017AF226E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4" creationId="{98B7D588-D563-4CB9-B794-36C95C9DD02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5" creationId="{BB8E45AA-5429-4C1A-B292-889E0D29C23D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6" creationId="{6D62197F-F232-483F-BD40-DE7097ED8BC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7" creationId="{D18B01B6-7A89-49E8-ACED-449071B54FF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8" creationId="{F69E19C1-53F0-4BF5-81BD-52D5EE13A71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9" creationId="{264919A1-9FA5-47E9-AE8B-4EC40CDB2256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0" creationId="{E4146AC9-FAA9-4FDA-B045-443AC2FD4ACF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1" creationId="{F23081F6-AB2E-4599-AF93-E2918EB05AA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2" creationId="{DE94D9E9-CBB8-44AA-A4E5-8CE0C707EF6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3" creationId="{8B25ABEE-9536-4BE8-94F1-AAD91DBA02D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4" creationId="{1D668561-C8ED-4D80-BF96-03CE41435EE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5" creationId="{98B10F92-DA53-484B-8844-DE36C140D00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6" creationId="{70B179E6-E53C-48F0-874F-640E3D3516FA}"/>
          </ac:spMkLst>
        </pc:spChg>
        <pc:grpChg chg="del">
          <ac:chgData name="Aurelien Domont" userId="6da7715ce44349b3" providerId="LiveId" clId="{AFF9B0D5-CA7D-40FB-964A-23276295459E}" dt="2021-07-06T04:49:26.216" v="6417" actId="478"/>
          <ac:grpSpMkLst>
            <pc:docMk/>
            <pc:sldMk cId="3379055426" sldId="2192"/>
            <ac:grpSpMk id="6" creationId="{33747CCF-50E7-4EB5-9B4D-8E887AE145E7}"/>
          </ac:grpSpMkLst>
        </pc:grpChg>
        <pc:grpChg chg="add del mod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4" creationId="{EF088785-0CD7-4929-A1FD-6BC2F30A8FAB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5" creationId="{9C0E45AE-B2E6-4B14-B298-BE405EA25E84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7" creationId="{D7FD3650-AC39-4106-8A94-C39AD36375A5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21" creationId="{968782E9-CA2E-480E-8CE1-A8E01F2D48CD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28" creationId="{EE95D2F9-12D6-4383-9822-1B3404DCE0BA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32" creationId="{C2AA4E4D-F099-4B69-BB71-8D05B53DA0FD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36" creationId="{52771FB2-67D6-4FCE-A682-36315160C6EE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43" creationId="{0D073FB2-9887-4DC7-9A8E-55301515F760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45" creationId="{7C8F2046-8479-458F-BD6E-6311EC3DBB77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46" creationId="{C326D45F-63EE-4C85-9BB1-455E811D4BF3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61" creationId="{F9192B0A-60BC-458A-A90A-64E6BCF7B168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24" creationId="{3F59DADE-E8D8-4B62-87BA-E7852DAF2A4A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26" creationId="{695ED9C2-44C8-42C0-98F4-CDFA0A6FAB71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28" creationId="{0CE860CB-0ACE-499B-B341-E9BAB83D7E19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30" creationId="{C92112EC-D917-45DB-AC30-F792AAB9BB01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41" creationId="{BF9644D1-2144-4F03-A2EB-F31C8C23F2B8}"/>
          </ac:grpSpMkLst>
        </pc:grp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3" creationId="{15370C7C-145F-4349-AE96-1E50E9582145}"/>
          </ac:picMkLst>
        </pc:pic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11" creationId="{25D5DDB8-F1BB-4113-A087-0C0A746C7EB2}"/>
          </ac:picMkLst>
        </pc:pic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19" creationId="{510380BB-04DC-414E-AEA0-0A102EFB8B64}"/>
          </ac:picMkLst>
        </pc:pic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20" creationId="{6A38595B-0C20-4D15-AA90-C5B669693A38}"/>
          </ac:picMkLst>
        </pc:picChg>
      </pc:sldChg>
      <pc:sldChg chg="addSp delSp modSp add del mod">
        <pc:chgData name="Aurelien Domont" userId="6da7715ce44349b3" providerId="LiveId" clId="{AFF9B0D5-CA7D-40FB-964A-23276295459E}" dt="2021-07-06T05:45:33.756" v="7160" actId="47"/>
        <pc:sldMkLst>
          <pc:docMk/>
          <pc:sldMk cId="2365006287" sldId="2193"/>
        </pc:sldMkLst>
        <pc:spChg chg="add mod">
          <ac:chgData name="Aurelien Domont" userId="6da7715ce44349b3" providerId="LiveId" clId="{AFF9B0D5-CA7D-40FB-964A-23276295459E}" dt="2021-07-06T05:02:39.256" v="6497" actId="1037"/>
          <ac:spMkLst>
            <pc:docMk/>
            <pc:sldMk cId="2365006287" sldId="2193"/>
            <ac:spMk id="2" creationId="{AE798A20-BDA2-4BD7-9090-E20E7CFACF67}"/>
          </ac:spMkLst>
        </pc:spChg>
        <pc:spChg chg="mod">
          <ac:chgData name="Aurelien Domont" userId="6da7715ce44349b3" providerId="LiveId" clId="{AFF9B0D5-CA7D-40FB-964A-23276295459E}" dt="2021-07-06T05:06:50.296" v="6579" actId="20577"/>
          <ac:spMkLst>
            <pc:docMk/>
            <pc:sldMk cId="2365006287" sldId="2193"/>
            <ac:spMk id="16" creationId="{6C2BB713-9637-4B9B-938F-E9768876782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" creationId="{B771EFD1-480A-49D1-8311-D1631ADDCAE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" creationId="{65469F66-D281-4ED1-A6A4-53FB0256ADF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" creationId="{23E57CB2-F110-433B-8E68-828A876E73F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" creationId="{74E6FD3E-697E-437E-BCCF-D4036C53196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" creationId="{92AABBE3-B444-4BEC-82DD-5644BBA7A77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" creationId="{97B58A29-1D94-499B-8733-3910F9AD6F4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" creationId="{5D999E87-6D47-44EB-AA80-FAB1044E50B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9" creationId="{3C06A61B-7951-49EC-954F-20BCE045D88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0" creationId="{CEF0D8C1-C31C-434B-AE35-55B3471F9C9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1" creationId="{811A9C04-9509-4F96-B5E1-2683FDB0AA6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3" creationId="{7C047B58-FCD5-4D1B-B651-61CF38F9DD8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4" creationId="{2E14BF7D-6F99-4D98-A8DA-8EB723F8771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5" creationId="{3882020F-C56B-44AB-8637-035FEE81CF3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7" creationId="{BD423BD5-6D69-49BE-A67A-B9649D95191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8" creationId="{E0BF46F7-A9D8-4C09-978A-75A9D4B5E44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9" creationId="{0C3749C6-D983-40E9-B6FE-9E314EE56A3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0" creationId="{1CE55E94-F6B3-43A5-8C94-74729058DA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1" creationId="{6EBB98D6-908A-4551-B26F-10C6768274F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2" creationId="{E4CBA9D9-791A-4B6D-A6F5-C58BC119643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4" creationId="{2324D931-C446-4406-A3B2-7EEF109E133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7" creationId="{066BFCAB-9359-47E6-85A9-6446EEE4768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8" creationId="{596BEE1A-9790-483E-96EB-CDEEB9ED8E4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9" creationId="{6C51E034-D463-40F4-A6FE-1AD0EECC2E1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0" creationId="{4DB629D9-D3D7-42A5-B2E5-376B2910CE6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1" creationId="{0508A820-EDC6-4023-B09A-569DACAA89B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2" creationId="{0598C82B-5B19-4ECD-A9F9-210E620301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3" creationId="{69AA8412-F4FC-49E9-8098-BA5431F25AE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4" creationId="{FD10D8C9-608D-4706-9C95-87B692F7BC5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5" creationId="{F96E8F5D-13F7-4F5F-B0C7-43F495BBE50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6" creationId="{1944C13D-7976-4FFF-9C1A-50B916EBC48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7" creationId="{596979FA-5547-40C5-9D2D-03C54409A1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8" creationId="{E2562560-CC9C-4394-9A98-D6C4F0C35DF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9" creationId="{FBF447C9-790F-4E87-A5F0-245B9CBB2C5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0" creationId="{70CE53DD-117C-493D-AD1D-1AB8E2D5511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2" creationId="{4656F7B9-B091-4F59-B888-6DEA15CF287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3" creationId="{F743838F-4369-4298-8BDF-24B1A81D7CC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4" creationId="{84D7C36D-FE20-4E88-8829-94E2EC4CEE7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5" creationId="{8AA055DE-5DEA-480F-9D58-EB35AB60A4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6" creationId="{5B305A7E-46F5-43B2-ACBF-71567A90F96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7" creationId="{7455C64C-AFC5-4C29-93D3-4332E1BAEE9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8" creationId="{5E8A23BD-D375-4967-ACA7-E1CCA49242E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9" creationId="{4030F0B9-06DB-4A6A-968B-33EF931731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0" creationId="{A2C60355-D617-4490-8E3E-1D6F4CB8A2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1" creationId="{CA9EB5AA-76BB-4143-A0DE-34A4DC0010A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2" creationId="{966691BF-5126-4A33-8916-C81706F25C9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3" creationId="{5390EC5E-7055-4804-84A3-7E70E3904E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4" creationId="{E65D02F2-FDEC-478F-8C7C-EF6B6E889CD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5" creationId="{10C7DD6A-EDF4-4E97-BF30-74BFFFD3644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6" creationId="{12F4E801-8132-4F0C-B8DA-A36568ECCC4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7" creationId="{C5615F12-CE48-4C91-BA28-3C8B3DDC3F5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8" creationId="{22A89C04-5EB4-44E9-A32D-27408ED8CB5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9" creationId="{56A025F8-D352-4D26-97E8-71FDE85A31B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0" creationId="{9A3331CC-8CC9-46B2-B479-BF612DE96A4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1" creationId="{AE32AB5F-2BE3-4D9C-A624-18BF13205C3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2" creationId="{3F3D471F-019C-499B-849A-3C0555B66D7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3" creationId="{89794A8E-92B0-4F14-BCC8-8E09C4E8EB7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4" creationId="{7CD25A7C-1C59-4AF8-8A24-ADDD1091CAA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5" creationId="{C4050E01-DB91-4148-825F-4017F471C32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6" creationId="{7EA15ED6-46A5-43A0-B67C-11BDD4BF88E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7" creationId="{FC2D8D47-DCE8-41DC-B4D8-D14FEC5472C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8" creationId="{4C383830-3025-4A26-80CA-D9DD9FFC436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9" creationId="{0A9438A0-9A3F-408D-8570-5955D7D534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0" creationId="{CCF6A828-CC27-43AB-81DC-A5E4A45B803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1" creationId="{EDB86CFC-23D4-4473-B846-3DA806F5108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2" creationId="{9E27841A-5BBF-4869-8CB3-6677215968F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3" creationId="{848846B1-BA0C-4806-B1DC-2FCF6F3B46E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4" creationId="{B32F85AD-308E-4382-B339-9D0E3532E3B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5" creationId="{F081A304-2C8F-4778-8EC0-5DCF78B4211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6" creationId="{5B9E9E35-688A-4E46-AD17-958B53B2A9B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7" creationId="{A76194B1-A38E-4BB8-8B3F-AE4835F7AC4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8" creationId="{55792372-BB82-4ECA-8C77-C82715CC6A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9" creationId="{90896AAA-AEDF-49B2-8503-7CA2DF421D3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0" creationId="{4E419948-B362-4317-B94F-EB6EEF93D5F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1" creationId="{F0E0088D-D528-4463-A7EF-0CD7ED8D81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2" creationId="{75C95256-B79D-4118-9B21-A8859DCC263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3" creationId="{65BF41B5-CFC3-43AD-A8E2-6B26904CC0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4" creationId="{E1AE7574-E20A-43ED-86E1-67FF47EE59E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5" creationId="{1CA686F3-4B48-4FCA-9990-4A687AED190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6" creationId="{230C6DFA-375D-4416-9E4E-067C619F1BF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7" creationId="{77E2697D-9897-4A3B-A255-C96C05DFB65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8" creationId="{FC706995-E8AA-43E2-8476-DA80D70E249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9" creationId="{2B07D6D4-194B-4146-A1AE-508C73D392A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0" creationId="{C5A5E31E-BC3F-4031-B4BD-96322C581A0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1" creationId="{632D5824-AD44-4E4F-AF47-F307A1FA0E2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2" creationId="{6F83E090-B402-410D-AFC1-C419C6F8E4C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3" creationId="{651407DE-861B-4C05-842D-A44085EFF36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4" creationId="{783A9BBE-48DB-4AE1-8421-30B47ED6B06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5" creationId="{BF2EC1BE-F8C3-4855-8D2E-4C26D0C250B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6" creationId="{3B25F4FD-B5EE-4E5D-A3A5-1ABDEAD5F0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7" creationId="{4150CB89-F485-436E-97D1-4FB1609F498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8" creationId="{49E8AE7E-7F5A-4A11-9512-6C7079D464A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9" creationId="{82534475-B316-4ED5-BDD3-1061DFF132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0" creationId="{894A3104-C61D-488C-BD9D-15689C08299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1" creationId="{19010C2B-F3E6-484A-A3F9-6592B0831B4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2" creationId="{39FEB8F0-3332-4428-AEEA-741658E4FDC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3" creationId="{7499BFA2-541F-43A4-8B7D-28E1FABD6E2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5" creationId="{2C9E90AE-B1D5-4F9C-BFCF-DCC3E4BCD4E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7" creationId="{378FBEAB-0A9B-4243-98E7-1FEF1F9571B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9" creationId="{C5A5F10F-556A-4AE1-A4ED-861F2945FF0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1" creationId="{350273C7-56F8-484A-88FB-9CC9C5B030D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2" creationId="{BC6174EC-1DA5-446D-880E-B7EA6E2BB1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3" creationId="{512FA95D-9A9C-4659-B363-4DC368AFFBC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4" creationId="{CF8EEA38-F094-4816-918B-C5ECB1F0461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5" creationId="{B477CF5F-A7AF-43CE-8582-FAB48185813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6" creationId="{3A8CD19A-AC64-4532-A17D-3F89472AF0E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7" creationId="{CAE23BEF-B51F-4CF7-8DEE-8420F4B8CC4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8" creationId="{985FBAC8-C39C-4F76-BF89-235488B6688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9" creationId="{B2B8939D-415D-4191-AE3F-6BF5ACDF306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0" creationId="{7752E709-95CB-4091-AB1E-A5086F134AC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2" creationId="{BDDB4D79-5A59-41A1-B66F-8B658F59082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3" creationId="{1D1E885F-74AF-4A3B-95AC-54D9FE34076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4" creationId="{D74FA934-62DC-4E2B-BDE0-202AF8CB9A4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5" creationId="{16FC8BD7-DDAE-44C2-B89E-C4034E712BE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6" creationId="{41B138E6-41E9-4AF6-A29C-165D08513D2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7" creationId="{1C8FEC86-DF11-4FE6-A64F-AF70A02773B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8" creationId="{7BFF15EB-F63D-4FAD-BCE0-0A283F0ACEC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9" creationId="{62DDC113-79AB-4405-8A05-4AF26497DD0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0" creationId="{4365A171-557B-4606-A3EB-AF8BC228820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1" creationId="{EEFF0CDB-017C-4A77-BB78-49C95981088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2" creationId="{8D03B6DB-D72C-4AB8-97B4-A9A20666B2C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3" creationId="{A259B0CE-4E24-4931-A600-EAB7EE0723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4" creationId="{ABD91C8D-FC50-47FE-A53C-35530B9E6A4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5" creationId="{25B903D7-A74D-430A-8D7F-DCA08103D52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6" creationId="{C0E7B4A7-61CE-422B-839A-837E9A743E3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7" creationId="{3D657CDC-FAA8-4289-82C8-81810B6165D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8" creationId="{B17EB213-4950-42CF-9699-018AD4232B1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9" creationId="{8CA38F92-3E3C-43A5-90D1-5E8700DAB38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0" creationId="{23EDF098-AA5C-4CC4-A915-B946B8E572B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1" creationId="{D56F5FB8-B708-4119-9373-80F1E11159C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2" creationId="{BA676946-82C1-4EBE-B717-21F7E57ED27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3" creationId="{60EB86DE-7405-492F-9024-C261802C202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4" creationId="{BDBE1806-5F82-440C-B248-5D0992D119E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5" creationId="{0CB2C5FB-2220-441B-A825-6A63E1B5CE8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6" creationId="{9FACDA72-1072-4DEE-B174-2A6F35E08C8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7" creationId="{52057368-38F5-4FC7-89D7-71864828E19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8" creationId="{99762878-AFAD-4D28-9244-65AC64A29FA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9" creationId="{C6E0C370-1AE7-4B71-B582-54390B3E975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0" creationId="{89396123-E9E1-41A2-9494-24C475D336F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1" creationId="{823194CC-6111-4944-B231-CB5B35E2896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2" creationId="{4D754B61-CAB2-4876-AD55-A97070A02FF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3" creationId="{92A6D021-607D-4A3A-9541-A61366B4451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4" creationId="{7CC84701-7558-4313-BB29-B13B7F846F1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5" creationId="{03B4CC72-2489-41BE-A1DA-877AE3EA9DF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6" creationId="{47D6B5AF-3BB1-4F40-80A3-E718FFB2BBF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7" creationId="{4DCF5414-4CBF-45A5-B95E-85CED01A12B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8" creationId="{2678A3CD-131E-4EDF-A30A-53317901811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9" creationId="{46610A0A-B8CE-41D9-91CC-A7B06C419C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0" creationId="{808EFAEC-EFEE-465B-9F07-B3397A83BC3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1" creationId="{B0EA3EF7-DB1A-48F5-8310-A1017DB54E6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2" creationId="{16651324-4218-4C8D-848C-EC8DDB56376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3" creationId="{2D1C61DB-DB9D-4FCD-A59D-5698A652290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4" creationId="{72B0C558-0604-4F2E-8F50-BDE457973D3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5" creationId="{D5A1BFFB-B8FB-4800-BC3D-EE46E81A543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6" creationId="{27671FE5-EDAE-4670-BEF7-A720F30F366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7" creationId="{27C7BAE0-2998-41E2-ADC9-71D60AE6372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8" creationId="{3800CFC3-6C5F-4327-98F1-E4477F94260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9" creationId="{BD3D661E-CE23-4A3A-862C-A4530123CB0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0" creationId="{1BF0723C-6F69-4D40-B7B3-E15B38FA66D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1" creationId="{21AE6CAF-9A47-4EE1-A1D6-3C8CED98D24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2" creationId="{2373E3CE-B579-453F-89B1-B7E1CF0C0EB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3" creationId="{E0AE16BE-90F8-40E4-A739-7DAF8EA978B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4" creationId="{3E230726-7D04-48F3-A135-4F04E3E248F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5" creationId="{E435410C-3B5C-4565-9E8D-60834A32126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6" creationId="{46F36E87-E302-412F-BB37-08F349D2161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7" creationId="{C7ACEAE5-152B-49D2-8F07-FFD86767A0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8" creationId="{7104C839-48BF-4BA4-BF53-6AFD43BAED3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9" creationId="{0A27973E-F093-4443-948D-6F5E0135F5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0" creationId="{0C367E29-D0D4-4244-8139-3B655EF87F1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1" creationId="{1726BD3E-877B-4098-9E8D-71732ED9C71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2" creationId="{417DE7D5-87EB-4446-90B6-E380A5B3F9E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3" creationId="{F8234C4E-1277-4509-A12C-171C20B6137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4" creationId="{6CD2DCA3-6635-45E3-BAA3-A827175806C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5" creationId="{D0EE785C-B516-4A7F-9FD6-932B3B08239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6" creationId="{69F9CB50-A8DF-4971-A970-65EBA0D3708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7" creationId="{3A5C33E5-CB47-49F3-9703-5FABDAB57EC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8" creationId="{85E7AF01-E658-4CF9-91AD-AAA4D538385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9" creationId="{80F74A73-23C5-4D68-9D8A-23DC7F7E918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0" creationId="{1C34C438-EB6D-4823-B4F5-43F46CB4F13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1" creationId="{62858DE9-8389-40F0-B1B8-BFA176A1109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2" creationId="{35FA5D01-3B25-4F8D-9A0F-7FFF9F3BE0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3" creationId="{F07095F0-5F81-4E87-8152-6FA12EAABA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4" creationId="{6D88220E-9BA8-4095-9058-A84188E97F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5" creationId="{FA0F2FA6-CE91-4B62-9BA1-78C7638E762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6" creationId="{02503988-11CB-45E2-8EBE-8DB0875F0A4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7" creationId="{A2D11221-FFDD-40DB-8071-FB96292CF32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8" creationId="{F89419B7-8002-4A66-8E1F-B15EA2EF54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9" creationId="{2104C40C-A33D-4E6D-9D98-BC4F83960F5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0" creationId="{AE069398-DCB6-4C53-AE55-140B6878653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1" creationId="{EA413C8C-5A81-4A84-9508-42F13C4C026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2" creationId="{6F011FD1-4573-4382-B364-DB6F8260701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3" creationId="{B9602CC6-B71E-4ED6-9041-140D27C4E4E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4" creationId="{E713764D-8FD9-4C54-A023-D80F71593A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5" creationId="{40198528-FAD1-4DF1-BE03-1F5CE0DF511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6" creationId="{FF7CCC2D-2F86-44F8-B589-36D24F6BD3B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7" creationId="{355CCFEB-EFF7-4767-B082-7F25BBEF186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8" creationId="{3FEB8FE2-A508-41DC-AE11-14061B6EABC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9" creationId="{B264EC5D-A47A-48AA-B4C5-9EF7968CDD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0" creationId="{4F1CECCC-B7AE-4091-99C7-3D8A575094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1" creationId="{9D9F2C61-12B2-4CFC-9F59-A5D24696291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2" creationId="{038E4FC5-3825-4C9D-9C75-4359EB4187B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3" creationId="{63489E06-23B3-4FDE-985E-9363B3EC7F8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4" creationId="{79221B8C-59C2-42DB-BF50-6900D8AEB4D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5" creationId="{8A915F83-38FE-40E1-B654-F200BD2669B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6" creationId="{9A5EE1FD-B9F0-4328-8FAD-B440111B979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7" creationId="{B1485E9E-08D1-4969-9994-4C08790CE3A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8" creationId="{F9145D23-22F4-41E3-9E8D-910174B5DBB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9" creationId="{A9742A27-D2E8-4A37-AA55-EB1308A6DA7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0" creationId="{A2DC8A6B-373E-4CAF-A535-BF54006E617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1" creationId="{48655EB1-407B-43A0-8829-E858DAE63D9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2" creationId="{B70CA7DC-536C-4452-8F7E-D2876C88E0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3" creationId="{9790A531-4D0D-41B6-94DE-DB614334F6D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4" creationId="{98351D31-2037-45FE-AB54-87A5B51FBFD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5" creationId="{8C3D4576-60DD-4805-812B-AA65ED83D9B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6" creationId="{2195CA09-EFC7-4007-A7A7-10C502924E4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7" creationId="{07127B3D-D91B-4436-9C4C-CEB05642FF4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8" creationId="{C7E65F49-CA35-4C6F-99EF-A86431087C5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9" creationId="{3CF81980-D6F0-499D-B952-0CCA99157FF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0" creationId="{66CF125E-C950-46E1-AEB4-530BE2B6DB7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1" creationId="{E83F2309-B010-4B76-8F84-FB31FFAF091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2" creationId="{BD6CF8CB-15A3-4ABD-AA76-432170908F0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3" creationId="{16517373-9328-4E32-9357-EDC75FAFB99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4" creationId="{5C6F5702-5102-42BA-987D-E7B0AA7A99F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5" creationId="{1DAAAD97-AE64-4EA0-95F4-DD6481A8F3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6" creationId="{FD77AEA8-D3B9-4B03-AAC1-D84292DB27F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7" creationId="{C127406E-D506-41FE-A862-08B214DF705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8" creationId="{5DDC51BE-2E59-4C3A-8264-BEC5D35F108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9" creationId="{CA2283F1-72A8-46AB-A13B-BA6216774DA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0" creationId="{19CBF73B-27AF-4FD5-B04C-456C7BBDDE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1" creationId="{CB30A25C-C0BC-40C3-85C7-63C06C8CA6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2" creationId="{BB2E7AAB-6375-440E-8852-5A60B21E702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3" creationId="{961625A5-71D7-4650-BA45-0A4B47CD917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4" creationId="{448618C1-00F6-490C-AD92-E80B56FBF25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5" creationId="{AE388402-2123-4899-BB6F-5DEB0273117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6" creationId="{CC680189-A550-4858-B692-80EA0F57D67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7" creationId="{BEC58D69-1743-401D-995B-3DABB105C38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8" creationId="{B2308CBA-51DB-4327-8C83-430D1BC9B38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9" creationId="{02D02326-76F8-489F-902D-E13229606DF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0" creationId="{82A7A041-2D44-4311-932E-FF002429C68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1" creationId="{B75C87F4-4973-47EC-BF93-3A8A9833081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2" creationId="{C9320842-AFED-47CC-94CD-949B95E4D93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3" creationId="{ED2EA6C0-2417-4198-9D9D-07017AF226E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4" creationId="{98B7D588-D563-4CB9-B794-36C95C9DD02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5" creationId="{BB8E45AA-5429-4C1A-B292-889E0D29C23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6" creationId="{6D62197F-F232-483F-BD40-DE7097ED8BC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7" creationId="{D18B01B6-7A89-49E8-ACED-449071B54FF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8" creationId="{F69E19C1-53F0-4BF5-81BD-52D5EE13A71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9" creationId="{264919A1-9FA5-47E9-AE8B-4EC40CDB225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0" creationId="{E4146AC9-FAA9-4FDA-B045-443AC2FD4AC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1" creationId="{F23081F6-AB2E-4599-AF93-E2918EB05AA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2" creationId="{DE94D9E9-CBB8-44AA-A4E5-8CE0C707EF6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3" creationId="{8B25ABEE-9536-4BE8-94F1-AAD91DBA02D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4" creationId="{1D668561-C8ED-4D80-BF96-03CE41435EE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5" creationId="{98B10F92-DA53-484B-8844-DE36C140D00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6" creationId="{70B179E6-E53C-48F0-874F-640E3D3516FA}"/>
          </ac:spMkLst>
        </pc:spChg>
        <pc:spChg chg="add del mod">
          <ac:chgData name="Aurelien Domont" userId="6da7715ce44349b3" providerId="LiveId" clId="{AFF9B0D5-CA7D-40FB-964A-23276295459E}" dt="2021-07-06T04:55:36.891" v="6440" actId="478"/>
          <ac:spMkLst>
            <pc:docMk/>
            <pc:sldMk cId="2365006287" sldId="2193"/>
            <ac:spMk id="287" creationId="{CF08BEEC-A553-4644-B181-2A8A18463B96}"/>
          </ac:spMkLst>
        </pc:s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5" creationId="{9C0E45AE-B2E6-4B14-B298-BE405EA25E84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7" creationId="{D7FD3650-AC39-4106-8A94-C39AD36375A5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21" creationId="{968782E9-CA2E-480E-8CE1-A8E01F2D48CD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28" creationId="{EE95D2F9-12D6-4383-9822-1B3404DCE0BA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32" creationId="{C2AA4E4D-F099-4B69-BB71-8D05B53DA0FD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36" creationId="{52771FB2-67D6-4FCE-A682-36315160C6EE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43" creationId="{0D073FB2-9887-4DC7-9A8E-55301515F760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45" creationId="{7C8F2046-8479-458F-BD6E-6311EC3DBB77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46" creationId="{C326D45F-63EE-4C85-9BB1-455E811D4BF3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61" creationId="{F9192B0A-60BC-458A-A90A-64E6BCF7B168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24" creationId="{3F59DADE-E8D8-4B62-87BA-E7852DAF2A4A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26" creationId="{695ED9C2-44C8-42C0-98F4-CDFA0A6FAB71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28" creationId="{0CE860CB-0ACE-499B-B341-E9BAB83D7E19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30" creationId="{C92112EC-D917-45DB-AC30-F792AAB9BB01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41" creationId="{BF9644D1-2144-4F03-A2EB-F31C8C23F2B8}"/>
          </ac:grpSpMkLst>
        </pc:grpChg>
      </pc:sldChg>
      <pc:sldChg chg="add del">
        <pc:chgData name="Aurelien Domont" userId="6da7715ce44349b3" providerId="LiveId" clId="{AFF9B0D5-CA7D-40FB-964A-23276295459E}" dt="2021-07-06T05:45:33.756" v="7160" actId="47"/>
        <pc:sldMkLst>
          <pc:docMk/>
          <pc:sldMk cId="1733001810" sldId="2194"/>
        </pc:sldMkLst>
      </pc:sldChg>
      <pc:sldChg chg="addSp modSp add del mod">
        <pc:chgData name="Aurelien Domont" userId="6da7715ce44349b3" providerId="LiveId" clId="{AFF9B0D5-CA7D-40FB-964A-23276295459E}" dt="2021-07-06T05:45:33.756" v="7160" actId="47"/>
        <pc:sldMkLst>
          <pc:docMk/>
          <pc:sldMk cId="426468274" sldId="2195"/>
        </pc:sldMkLst>
        <pc:spChg chg="mod">
          <ac:chgData name="Aurelien Domont" userId="6da7715ce44349b3" providerId="LiveId" clId="{AFF9B0D5-CA7D-40FB-964A-23276295459E}" dt="2021-07-06T05:22:24.863" v="6856" actId="14100"/>
          <ac:spMkLst>
            <pc:docMk/>
            <pc:sldMk cId="426468274" sldId="2195"/>
            <ac:spMk id="28" creationId="{9890D867-710A-4021-80A0-9EDD68F8268E}"/>
          </ac:spMkLst>
        </pc:spChg>
        <pc:picChg chg="add mod">
          <ac:chgData name="Aurelien Domont" userId="6da7715ce44349b3" providerId="LiveId" clId="{AFF9B0D5-CA7D-40FB-964A-23276295459E}" dt="2021-07-06T05:22:10.919" v="6829" actId="1076"/>
          <ac:picMkLst>
            <pc:docMk/>
            <pc:sldMk cId="426468274" sldId="2195"/>
            <ac:picMk id="317" creationId="{2F450989-A408-4375-9CF4-35729A5A3E3C}"/>
          </ac:picMkLst>
        </pc:picChg>
      </pc:sldChg>
      <pc:sldChg chg="add del">
        <pc:chgData name="Aurelien Domont" userId="6da7715ce44349b3" providerId="LiveId" clId="{AFF9B0D5-CA7D-40FB-964A-23276295459E}" dt="2021-07-06T05:45:33.756" v="7160" actId="47"/>
        <pc:sldMkLst>
          <pc:docMk/>
          <pc:sldMk cId="3615286702" sldId="2196"/>
        </pc:sldMkLst>
      </pc:sldChg>
    </pc:docChg>
  </pc:docChgLst>
  <pc:docChgLst>
    <pc:chgData name="Aurelien Domont" userId="6da7715ce44349b3" providerId="LiveId" clId="{C523CB9D-DE17-4F66-BAA5-E2467A3E4858}"/>
    <pc:docChg chg="delSld modSld">
      <pc:chgData name="Aurelien Domont" userId="6da7715ce44349b3" providerId="LiveId" clId="{C523CB9D-DE17-4F66-BAA5-E2467A3E4858}" dt="2021-05-03T08:03:28.500" v="13" actId="20577"/>
      <pc:docMkLst>
        <pc:docMk/>
      </pc:docMkLst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262757208" sldId="179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04490806" sldId="179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67058056" sldId="179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13437184" sldId="188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792836084" sldId="188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27587685" sldId="188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20013767" sldId="188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87084427" sldId="188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55017529" sldId="188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64639401" sldId="188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203379594" sldId="189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39563003" sldId="189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677099460" sldId="1893"/>
        </pc:sldMkLst>
      </pc:sldChg>
      <pc:sldChg chg="modSp mod">
        <pc:chgData name="Aurelien Domont" userId="6da7715ce44349b3" providerId="LiveId" clId="{C523CB9D-DE17-4F66-BAA5-E2467A3E4858}" dt="2021-05-03T08:02:57.383" v="2" actId="20577"/>
        <pc:sldMkLst>
          <pc:docMk/>
          <pc:sldMk cId="3738554192" sldId="1918"/>
        </pc:sldMkLst>
        <pc:spChg chg="mod">
          <ac:chgData name="Aurelien Domont" userId="6da7715ce44349b3" providerId="LiveId" clId="{C523CB9D-DE17-4F66-BAA5-E2467A3E4858}" dt="2021-05-03T08:02:57.383" v="2" actId="20577"/>
          <ac:spMkLst>
            <pc:docMk/>
            <pc:sldMk cId="3738554192" sldId="1918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C523CB9D-DE17-4F66-BAA5-E2467A3E4858}" dt="2021-05-03T08:03:28.500" v="13" actId="20577"/>
        <pc:sldMkLst>
          <pc:docMk/>
          <pc:sldMk cId="4287792945" sldId="1919"/>
        </pc:sldMkLst>
        <pc:spChg chg="mod">
          <ac:chgData name="Aurelien Domont" userId="6da7715ce44349b3" providerId="LiveId" clId="{C523CB9D-DE17-4F66-BAA5-E2467A3E4858}" dt="2021-05-03T08:03:25.707" v="11" actId="20577"/>
          <ac:spMkLst>
            <pc:docMk/>
            <pc:sldMk cId="4287792945" sldId="1919"/>
            <ac:spMk id="2" creationId="{DB8DB0C8-E51F-47D1-A351-F9D9CA2C15DA}"/>
          </ac:spMkLst>
        </pc:spChg>
        <pc:spChg chg="mod">
          <ac:chgData name="Aurelien Domont" userId="6da7715ce44349b3" providerId="LiveId" clId="{C523CB9D-DE17-4F66-BAA5-E2467A3E4858}" dt="2021-05-03T08:03:28.500" v="13" actId="20577"/>
          <ac:spMkLst>
            <pc:docMk/>
            <pc:sldMk cId="4287792945" sldId="1919"/>
            <ac:spMk id="16" creationId="{6C2BB713-9637-4B9B-938F-E9768876782A}"/>
          </ac:spMkLst>
        </pc:spChg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97933806" sldId="192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74123290" sldId="192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5018652" sldId="192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74159068" sldId="192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802743741" sldId="192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48385396" sldId="193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84211076" sldId="193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39386134" sldId="193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31546691" sldId="193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60412850" sldId="193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17604876" sldId="193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80696589" sldId="193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55966363" sldId="193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589605413" sldId="193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714325450" sldId="193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414149744" sldId="194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99795422" sldId="194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403188377" sldId="194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77576074" sldId="194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62017462" sldId="194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28419591" sldId="194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950953867" sldId="194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32976083" sldId="194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26069399" sldId="194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1689330" sldId="194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02637173" sldId="195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99750334" sldId="195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65333669" sldId="195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31823183" sldId="195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36448820" sldId="195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60112904" sldId="195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87956599" sldId="195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07806883" sldId="195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362875" sldId="195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62162763" sldId="195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80287118" sldId="196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62939476" sldId="196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71325009" sldId="196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34730998" sldId="196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118611170" sldId="196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08328687" sldId="196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81941897" sldId="196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440858440" sldId="196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954766657" sldId="196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68275467" sldId="197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29194852" sldId="197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10991361" sldId="197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653177920" sldId="197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73862011" sldId="197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119972109" sldId="197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078645186" sldId="197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74191175" sldId="197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089601017" sldId="197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03768916" sldId="197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828206272" sldId="198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91820959" sldId="198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425621628" sldId="198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78935005" sldId="198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97949056" sldId="198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23605290" sldId="198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026744296" sldId="198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57942581" sldId="198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940386508" sldId="198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99758324" sldId="198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24419684" sldId="199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05289071" sldId="199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39629277" sldId="199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752228771" sldId="199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58613024" sldId="199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526698175" sldId="199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49023689" sldId="199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42596438" sldId="199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06188045" sldId="199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928808042" sldId="199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600611330" sldId="200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94454371" sldId="200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160285512" sldId="200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011482222" sldId="200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5415864" sldId="200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73232207" sldId="200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39105764" sldId="200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585643901" sldId="200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53376507" sldId="200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38136842" sldId="201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68255840" sldId="201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00727758" sldId="201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690714282" sldId="201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140429196" sldId="201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74727100" sldId="201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19283537" sldId="201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86852373" sldId="201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50178084" sldId="201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91445569" sldId="201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833432062" sldId="202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84153820" sldId="202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66627109" sldId="202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720365225" sldId="202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00437321" sldId="202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510494898" sldId="202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191176648" sldId="202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065434126" sldId="202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24289588" sldId="202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51893028" sldId="202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518638678" sldId="203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867219056" sldId="203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64978532" sldId="2032"/>
        </pc:sldMkLst>
      </pc:sldChg>
      <pc:sldChg chg="del">
        <pc:chgData name="Aurelien Domont" userId="6da7715ce44349b3" providerId="LiveId" clId="{C523CB9D-DE17-4F66-BAA5-E2467A3E4858}" dt="2021-05-03T08:02:45.439" v="1" actId="47"/>
        <pc:sldMkLst>
          <pc:docMk/>
          <pc:sldMk cId="1692242364" sldId="2033"/>
        </pc:sldMkLst>
      </pc:sldChg>
    </pc:docChg>
  </pc:docChgLst>
  <pc:docChgLst>
    <pc:chgData name="Aurelien Domont" userId="6da7715ce44349b3" providerId="LiveId" clId="{4BF3E808-009B-4EAC-BEE2-18FD12A3770E}"/>
    <pc:docChg chg="undo redo custSel addSld delSld modSld">
      <pc:chgData name="Aurelien Domont" userId="6da7715ce44349b3" providerId="LiveId" clId="{4BF3E808-009B-4EAC-BEE2-18FD12A3770E}" dt="2022-10-07T04:21:09.632" v="354" actId="13926"/>
      <pc:docMkLst>
        <pc:docMk/>
      </pc:docMkLst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397809860" sldId="149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54585881" sldId="159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853806433" sldId="160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419878592" sldId="162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977292873" sldId="1642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998433835" sldId="166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450634587" sldId="169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015103750" sldId="1692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252826214" sldId="1711"/>
        </pc:sldMkLst>
      </pc:sldChg>
      <pc:sldChg chg="del">
        <pc:chgData name="Aurelien Domont" userId="6da7715ce44349b3" providerId="LiveId" clId="{4BF3E808-009B-4EAC-BEE2-18FD12A3770E}" dt="2022-09-29T01:05:37.655" v="0" actId="47"/>
        <pc:sldMkLst>
          <pc:docMk/>
          <pc:sldMk cId="1392754280" sldId="173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118304342" sldId="199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938337455" sldId="2034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62358644" sldId="213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926619926" sldId="214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400249224" sldId="2165"/>
        </pc:sldMkLst>
      </pc:sldChg>
      <pc:sldChg chg="del">
        <pc:chgData name="Aurelien Domont" userId="6da7715ce44349b3" providerId="LiveId" clId="{4BF3E808-009B-4EAC-BEE2-18FD12A3770E}" dt="2022-09-29T01:05:37.655" v="0" actId="47"/>
        <pc:sldMkLst>
          <pc:docMk/>
          <pc:sldMk cId="3218024908" sldId="2193"/>
        </pc:sldMkLst>
      </pc:sldChg>
      <pc:sldChg chg="addSp delSp modSp del mod">
        <pc:chgData name="Aurelien Domont" userId="6da7715ce44349b3" providerId="LiveId" clId="{4BF3E808-009B-4EAC-BEE2-18FD12A3770E}" dt="2022-09-29T01:21:06.645" v="346" actId="47"/>
        <pc:sldMkLst>
          <pc:docMk/>
          <pc:sldMk cId="3015462381" sldId="2195"/>
        </pc:sldMkLst>
        <pc:spChg chg="add del mod">
          <ac:chgData name="Aurelien Domont" userId="6da7715ce44349b3" providerId="LiveId" clId="{4BF3E808-009B-4EAC-BEE2-18FD12A3770E}" dt="2022-09-29T01:11:27.017" v="149" actId="478"/>
          <ac:spMkLst>
            <pc:docMk/>
            <pc:sldMk cId="3015462381" sldId="2195"/>
            <ac:spMk id="4" creationId="{2AC3E8D7-352B-DE88-FB9F-34EC060AB7FF}"/>
          </ac:spMkLst>
        </pc:spChg>
        <pc:spChg chg="add mod">
          <ac:chgData name="Aurelien Domont" userId="6da7715ce44349b3" providerId="LiveId" clId="{4BF3E808-009B-4EAC-BEE2-18FD12A3770E}" dt="2022-09-29T01:16:26.340" v="274" actId="13926"/>
          <ac:spMkLst>
            <pc:docMk/>
            <pc:sldMk cId="3015462381" sldId="2195"/>
            <ac:spMk id="6" creationId="{CCC33B26-1C22-17EB-3C48-B3B33263A190}"/>
          </ac:spMkLst>
        </pc:spChg>
        <pc:spChg chg="del">
          <ac:chgData name="Aurelien Domont" userId="6da7715ce44349b3" providerId="LiveId" clId="{4BF3E808-009B-4EAC-BEE2-18FD12A3770E}" dt="2022-09-29T01:06:50.359" v="64" actId="478"/>
          <ac:spMkLst>
            <pc:docMk/>
            <pc:sldMk cId="3015462381" sldId="2195"/>
            <ac:spMk id="7" creationId="{6FE5E11F-FF38-4379-8EC8-AFC4127DCE22}"/>
          </ac:spMkLst>
        </pc:spChg>
        <pc:spChg chg="mod">
          <ac:chgData name="Aurelien Domont" userId="6da7715ce44349b3" providerId="LiveId" clId="{4BF3E808-009B-4EAC-BEE2-18FD12A3770E}" dt="2022-09-29T01:18:26.578" v="291" actId="20577"/>
          <ac:spMkLst>
            <pc:docMk/>
            <pc:sldMk cId="3015462381" sldId="2195"/>
            <ac:spMk id="16" creationId="{6C2BB713-9637-4B9B-938F-E9768876782A}"/>
          </ac:spMkLst>
        </pc:spChg>
        <pc:picChg chg="add mod">
          <ac:chgData name="Aurelien Domont" userId="6da7715ce44349b3" providerId="LiveId" clId="{4BF3E808-009B-4EAC-BEE2-18FD12A3770E}" dt="2022-09-29T01:16:19.616" v="273" actId="1036"/>
          <ac:picMkLst>
            <pc:docMk/>
            <pc:sldMk cId="3015462381" sldId="2195"/>
            <ac:picMk id="3" creationId="{34F7BBA2-741D-6E87-B036-EB6BEB551C34}"/>
          </ac:picMkLst>
        </pc:picChg>
      </pc:sldChg>
      <pc:sldChg chg="modSp add mod">
        <pc:chgData name="Aurelien Domont" userId="6da7715ce44349b3" providerId="LiveId" clId="{4BF3E808-009B-4EAC-BEE2-18FD12A3770E}" dt="2022-10-07T04:21:09.632" v="354" actId="13926"/>
        <pc:sldMkLst>
          <pc:docMk/>
          <pc:sldMk cId="3615428360" sldId="2196"/>
        </pc:sldMkLst>
        <pc:spChg chg="mod">
          <ac:chgData name="Aurelien Domont" userId="6da7715ce44349b3" providerId="LiveId" clId="{4BF3E808-009B-4EAC-BEE2-18FD12A3770E}" dt="2022-10-07T04:21:09.632" v="354" actId="13926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4BF3E808-009B-4EAC-BEE2-18FD12A3770E}" dt="2022-09-29T01:19:21.358" v="310"/>
          <ac:spMkLst>
            <pc:docMk/>
            <pc:sldMk cId="3615428360" sldId="2196"/>
            <ac:spMk id="16" creationId="{6C2BB713-9637-4B9B-938F-E9768876782A}"/>
          </ac:spMkLst>
        </pc:spChg>
        <pc:picChg chg="mod">
          <ac:chgData name="Aurelien Domont" userId="6da7715ce44349b3" providerId="LiveId" clId="{4BF3E808-009B-4EAC-BEE2-18FD12A3770E}" dt="2022-10-07T04:21:01.568" v="352"/>
          <ac:picMkLst>
            <pc:docMk/>
            <pc:sldMk cId="3615428360" sldId="2196"/>
            <ac:picMk id="3" creationId="{34F7BBA2-741D-6E87-B036-EB6BEB551C34}"/>
          </ac:picMkLst>
        </pc:picChg>
      </pc:sldChg>
      <pc:sldChg chg="add del">
        <pc:chgData name="Aurelien Domont" userId="6da7715ce44349b3" providerId="LiveId" clId="{4BF3E808-009B-4EAC-BEE2-18FD12A3770E}" dt="2022-09-29T01:18:57.059" v="294"/>
        <pc:sldMkLst>
          <pc:docMk/>
          <pc:sldMk cId="301118027" sldId="219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44576478" sldId="219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41853081" sldId="222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98054063" sldId="222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721199826" sldId="223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496818132" sldId="2254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553944804" sldId="237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452782526" sldId="238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791836945" sldId="238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52535371" sldId="239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666700042" sldId="242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322587561" sldId="243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091587220" sldId="243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01775649" sldId="244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920409791" sldId="244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899102171" sldId="244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26578224" sldId="2446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51008928" sldId="244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43650526" sldId="244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59196708" sldId="244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863804147" sldId="245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930203392" sldId="245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67941284" sldId="2452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431379762" sldId="245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5885422" sldId="2454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61153257" sldId="245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986325070" sldId="2456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76314714" sldId="245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420773026" sldId="2458"/>
        </pc:sldMkLst>
      </pc:sldChg>
      <pc:sldMasterChg chg="delSldLayout">
        <pc:chgData name="Aurelien Domont" userId="6da7715ce44349b3" providerId="LiveId" clId="{4BF3E808-009B-4EAC-BEE2-18FD12A3770E}" dt="2022-09-29T01:05:37.655" v="0" actId="47"/>
        <pc:sldMasterMkLst>
          <pc:docMk/>
          <pc:sldMasterMk cId="3383129434" sldId="2147483746"/>
        </pc:sldMasterMkLst>
        <pc:sldLayoutChg chg="del">
          <pc:chgData name="Aurelien Domont" userId="6da7715ce44349b3" providerId="LiveId" clId="{4BF3E808-009B-4EAC-BEE2-18FD12A3770E}" dt="2022-09-29T01:05:37.655" v="0" actId="47"/>
          <pc:sldLayoutMkLst>
            <pc:docMk/>
            <pc:sldMasterMk cId="3383129434" sldId="2147483746"/>
            <pc:sldLayoutMk cId="1358905953" sldId="2147483748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10/2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10/2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580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5.xml"/><Relationship Id="rId4" Type="http://schemas.openxmlformats.org/officeDocument/2006/relationships/image" Target="../media/image2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6.xml"/><Relationship Id="rId4" Type="http://schemas.openxmlformats.org/officeDocument/2006/relationships/image" Target="../media/image2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7.xml"/><Relationship Id="rId4" Type="http://schemas.openxmlformats.org/officeDocument/2006/relationships/image" Target="../media/image2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7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0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1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0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1.xml"/><Relationship Id="rId4" Type="http://schemas.openxmlformats.org/officeDocument/2006/relationships/image" Target="../media/image2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2.xml"/><Relationship Id="rId4" Type="http://schemas.openxmlformats.org/officeDocument/2006/relationships/image" Target="../media/image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6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7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9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0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5.xml"/><Relationship Id="rId4" Type="http://schemas.openxmlformats.org/officeDocument/2006/relationships/image" Target="../media/image2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6.xml"/><Relationship Id="rId4" Type="http://schemas.openxmlformats.org/officeDocument/2006/relationships/image" Target="../media/image2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7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1.xml"/><Relationship Id="rId7" Type="http://schemas.openxmlformats.org/officeDocument/2006/relationships/image" Target="../media/image2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oleObject" Target="../embeddings/oleObject62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12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5.xml"/><Relationship Id="rId7" Type="http://schemas.openxmlformats.org/officeDocument/2006/relationships/image" Target="../media/image2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16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9.xml"/><Relationship Id="rId7" Type="http://schemas.openxmlformats.org/officeDocument/2006/relationships/image" Target="../media/image1.emf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0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23.xml"/><Relationship Id="rId7" Type="http://schemas.openxmlformats.org/officeDocument/2006/relationships/image" Target="../media/image2.emf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4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27.xml"/><Relationship Id="rId7" Type="http://schemas.openxmlformats.org/officeDocument/2006/relationships/image" Target="../media/image2.emf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5.xml"/><Relationship Id="rId4" Type="http://schemas.openxmlformats.org/officeDocument/2006/relationships/image" Target="../media/image2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6.xml"/><Relationship Id="rId4" Type="http://schemas.openxmlformats.org/officeDocument/2006/relationships/image" Target="../media/image2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7.xml"/><Relationship Id="rId4" Type="http://schemas.openxmlformats.org/officeDocument/2006/relationships/image" Target="../media/image2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9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2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0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1.xml"/><Relationship Id="rId4" Type="http://schemas.openxmlformats.org/officeDocument/2006/relationships/image" Target="../media/image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2.xml"/><Relationship Id="rId4" Type="http://schemas.openxmlformats.org/officeDocument/2006/relationships/image" Target="../media/image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9335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5122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1202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8671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08229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8222082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5636288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528151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1946171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6698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875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35840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90279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374662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2771276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135196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012886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2019151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9344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9461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2172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851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0388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262289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06141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38763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574582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9645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285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28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2909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811818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85866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98087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6347838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11851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20719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879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59240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90201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664587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9756971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36948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668472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35728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392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94774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8926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8627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4804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6975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20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201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6126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20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883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610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114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9840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63031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9810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78493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4727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04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7298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3833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75080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4787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053269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886792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1309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844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7271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519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863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758268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63751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92641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10921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4121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233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5149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0789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622904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224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0983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50165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425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1956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3070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9753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661651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877422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6392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4094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412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3202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529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333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0121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670264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011818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3498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2410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0564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4625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885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4361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5349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7480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B21B5B-78B4-9C91-CBC9-1198D4A2C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B21B5B-78B4-9C91-CBC9-1198D4A2C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475779A-962A-E228-F93E-4A4247C4761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A4D443-9F9D-7008-5CEF-4894FC89F6AF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578910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F2EAAB-B1DD-A9F3-3D46-1CD4347499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F2EAAB-B1DD-A9F3-3D46-1CD4347499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7C6F2FA-7269-007A-67CB-49AA088A6FC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20352E-B316-465B-4B91-8BB4D0D142FC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40DD4E-4102-9428-D366-F1F090AA124C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0160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202B8E-5051-6FE4-69F1-731FA01FBD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202B8E-5051-6FE4-69F1-731FA01FB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A6D3DEE-F421-D425-CBF8-15AC893641E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FDEF92-9FF4-07C7-E98E-38481AC0BA06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B18DA9-22E5-44CB-F763-2D44FD22643B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5852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3BE7BD-6225-FBB7-7A12-B54BC13DF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3BE7BD-6225-FBB7-7A12-B54BC13DFA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3B7CC1-CEF0-2172-3495-F868FEC95EE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E0098D-322E-4B3C-FEC6-E4649B0EB38F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889B47B-D586-14D4-F656-A34FA9E273AF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2928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4F8BD-60BA-960D-2923-1A4BFAE5C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4F8BD-60BA-960D-2923-1A4BFAE5C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EF72ABD-43CE-65A7-1DE2-E0D797091C3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45F568-35F6-4476-CA32-7C14652E50EA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EFE04A-2EF3-08DF-CD6E-404CF368E99F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7CD0088-1137-0023-1FCB-44C3930A1B4E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55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BA9B7B-EC7B-1205-7202-C61514B55C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BA9B7B-EC7B-1205-7202-C61514B55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63B3901-8C48-D99D-BBB9-1F13DC98817C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71368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43E712-CCEB-ADC5-40A2-1E0B6BC203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43E712-CCEB-ADC5-40A2-1E0B6BC203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A50C0FB-92DE-E665-0123-D8B10B54F4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843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333831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681068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180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9143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4744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7182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5463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8479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0181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7069472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266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56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01355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30570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59526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4796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3754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6403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9265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431050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086520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486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tags" Target="../tags/tag10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oleObject" Target="../embeddings/oleObject61.bin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ags" Target="../tags/tag108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107.xml"/><Relationship Id="rId5" Type="http://schemas.openxmlformats.org/officeDocument/2006/relationships/slideLayout" Target="../slideLayouts/slideLayout77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06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105.xml"/><Relationship Id="rId14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oleObject" Target="../embeddings/oleObject69.bin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ags" Target="../tags/tag134.xml"/><Relationship Id="rId5" Type="http://schemas.openxmlformats.org/officeDocument/2006/relationships/slideLayout" Target="../slideLayouts/slideLayout84.xml"/><Relationship Id="rId10" Type="http://schemas.openxmlformats.org/officeDocument/2006/relationships/tags" Target="../tags/tag133.xml"/><Relationship Id="rId4" Type="http://schemas.openxmlformats.org/officeDocument/2006/relationships/slideLayout" Target="../slideLayouts/slideLayout83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oleObject" Target="../embeddings/oleObject78.bin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tags" Target="../tags/tag149.xml"/><Relationship Id="rId5" Type="http://schemas.openxmlformats.org/officeDocument/2006/relationships/slideLayout" Target="../slideLayouts/slideLayout92.xml"/><Relationship Id="rId10" Type="http://schemas.openxmlformats.org/officeDocument/2006/relationships/tags" Target="../tags/tag148.xml"/><Relationship Id="rId4" Type="http://schemas.openxmlformats.org/officeDocument/2006/relationships/slideLayout" Target="../slideLayouts/slideLayout91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oleObject" Target="../embeddings/oleObject87.bin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tags" Target="../tags/tag164.xml"/><Relationship Id="rId5" Type="http://schemas.openxmlformats.org/officeDocument/2006/relationships/slideLayout" Target="../slideLayouts/slideLayout100.xml"/><Relationship Id="rId10" Type="http://schemas.openxmlformats.org/officeDocument/2006/relationships/tags" Target="../tags/tag163.xml"/><Relationship Id="rId4" Type="http://schemas.openxmlformats.org/officeDocument/2006/relationships/slideLayout" Target="../slideLayouts/slideLayout99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tags" Target="../tags/tag179.xml"/><Relationship Id="rId5" Type="http://schemas.openxmlformats.org/officeDocument/2006/relationships/slideLayout" Target="../slideLayouts/slideLayout108.xml"/><Relationship Id="rId10" Type="http://schemas.openxmlformats.org/officeDocument/2006/relationships/tags" Target="../tags/tag178.xml"/><Relationship Id="rId4" Type="http://schemas.openxmlformats.org/officeDocument/2006/relationships/slideLayout" Target="../slideLayouts/slideLayout107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oleObject" Target="../embeddings/oleObject105.bin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tags" Target="../tags/tag194.xml"/><Relationship Id="rId5" Type="http://schemas.openxmlformats.org/officeDocument/2006/relationships/slideLayout" Target="../slideLayouts/slideLayout116.xml"/><Relationship Id="rId10" Type="http://schemas.openxmlformats.org/officeDocument/2006/relationships/tags" Target="../tags/tag193.xml"/><Relationship Id="rId4" Type="http://schemas.openxmlformats.org/officeDocument/2006/relationships/slideLayout" Target="../slideLayouts/slideLayout115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oleObject" Target="../embeddings/oleObject114.bin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tags" Target="../tags/tag209.xml"/><Relationship Id="rId5" Type="http://schemas.openxmlformats.org/officeDocument/2006/relationships/slideLayout" Target="../slideLayouts/slideLayout124.xml"/><Relationship Id="rId10" Type="http://schemas.openxmlformats.org/officeDocument/2006/relationships/tags" Target="../tags/tag208.xml"/><Relationship Id="rId4" Type="http://schemas.openxmlformats.org/officeDocument/2006/relationships/slideLayout" Target="../slideLayouts/slideLayout123.xml"/><Relationship Id="rId9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tags" Target="../tags/tag213.xml"/><Relationship Id="rId5" Type="http://schemas.openxmlformats.org/officeDocument/2006/relationships/slideLayout" Target="../slideLayouts/slideLayout132.xml"/><Relationship Id="rId10" Type="http://schemas.openxmlformats.org/officeDocument/2006/relationships/tags" Target="../tags/tag212.xml"/><Relationship Id="rId4" Type="http://schemas.openxmlformats.org/officeDocument/2006/relationships/slideLayout" Target="../slideLayouts/slideLayout131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oleObject" Target="../embeddings/oleObject118.bin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tags" Target="../tags/tag217.xml"/><Relationship Id="rId5" Type="http://schemas.openxmlformats.org/officeDocument/2006/relationships/slideLayout" Target="../slideLayouts/slideLayout140.xml"/><Relationship Id="rId10" Type="http://schemas.openxmlformats.org/officeDocument/2006/relationships/tags" Target="../tags/tag216.xml"/><Relationship Id="rId4" Type="http://schemas.openxmlformats.org/officeDocument/2006/relationships/slideLayout" Target="../slideLayouts/slideLayout139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46.xml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36.xml"/><Relationship Id="rId10" Type="http://schemas.openxmlformats.org/officeDocument/2006/relationships/tags" Target="../tags/tag61.x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oleObject" Target="../embeddings/oleObject45.bin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77.xml"/><Relationship Id="rId5" Type="http://schemas.openxmlformats.org/officeDocument/2006/relationships/slideLayout" Target="../slideLayouts/slideLayout44.xml"/><Relationship Id="rId10" Type="http://schemas.openxmlformats.org/officeDocument/2006/relationships/tags" Target="../tags/tag76.x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oleObject" Target="../embeddings/oleObject54.bin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ags" Target="../tags/tag92.xml"/><Relationship Id="rId5" Type="http://schemas.openxmlformats.org/officeDocument/2006/relationships/slideLayout" Target="../slideLayouts/slideLayout52.xml"/><Relationship Id="rId10" Type="http://schemas.openxmlformats.org/officeDocument/2006/relationships/tags" Target="../tags/tag91.xml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95.xml"/><Relationship Id="rId4" Type="http://schemas.openxmlformats.org/officeDocument/2006/relationships/slideLayout" Target="../slideLayouts/slideLayout59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oleObject" Target="../embeddings/oleObject58.bin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tags" Target="../tags/tag100.xml"/><Relationship Id="rId5" Type="http://schemas.openxmlformats.org/officeDocument/2006/relationships/slideLayout" Target="../slideLayouts/slideLayout68.xml"/><Relationship Id="rId10" Type="http://schemas.openxmlformats.org/officeDocument/2006/relationships/tags" Target="../tags/tag99.xml"/><Relationship Id="rId4" Type="http://schemas.openxmlformats.org/officeDocument/2006/relationships/slideLayout" Target="../slideLayouts/slideLayout67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66" r:id="rId5"/>
    <p:sldLayoutId id="2147483672" r:id="rId6"/>
    <p:sldLayoutId id="2147483671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6CD9D8-0EF2-4581-B59C-A22EF1D3A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54082145"/>
              </p:ext>
            </p:extLst>
          </p:nvPr>
        </p:nvGraphicFramePr>
        <p:xfrm>
          <a:off x="1769" y="1899"/>
          <a:ext cx="1765" cy="18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6CD9D8-0EF2-4581-B59C-A22EF1D3A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69" y="1899"/>
                        <a:ext cx="1765" cy="18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8CE716-8A97-466C-A499-E3BDF417AE44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" y="1"/>
            <a:ext cx="176388" cy="189605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just" defTabSz="22596" rtl="0" fontAlgn="base">
              <a:lnSpc>
                <a:spcPts val="4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None/>
            </a:pPr>
            <a:endParaRPr lang="fr-FR" sz="100" b="1" i="0" kern="1200" baseline="0" dirty="0">
              <a:solidFill>
                <a:srgbClr val="0C287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459" name="Title Placeholder 1"/>
          <p:cNvSpPr>
            <a:spLocks noGrp="1"/>
          </p:cNvSpPr>
          <p:nvPr>
            <p:ph type="title"/>
          </p:nvPr>
        </p:nvSpPr>
        <p:spPr bwMode="auto">
          <a:xfrm>
            <a:off x="483758" y="350115"/>
            <a:ext cx="11230228" cy="63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4746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3758" y="1190385"/>
            <a:ext cx="11230228" cy="521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r>
              <a:rPr lang="fr-FR" noProof="0" dirty="0"/>
              <a:t> styles</a:t>
            </a:r>
          </a:p>
          <a:p>
            <a:pPr lvl="1"/>
            <a:r>
              <a:rPr lang="fr-FR" noProof="0" dirty="0"/>
              <a:t>Second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2"/>
            <a:r>
              <a:rPr lang="fr-FR" noProof="0" dirty="0" err="1"/>
              <a:t>Third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3"/>
            <a:r>
              <a:rPr lang="fr-FR" noProof="0" dirty="0" err="1"/>
              <a:t>Four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4"/>
            <a:r>
              <a:rPr lang="fr-FR" noProof="0" dirty="0" err="1"/>
              <a:t>Fif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383129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hf hdr="0" ftr="0" dt="0"/>
  <p:txStyles>
    <p:titleStyle>
      <a:lvl1pPr algn="l" defTabSz="46264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2pPr>
      <a:lvl3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3pPr>
      <a:lvl4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4pPr>
      <a:lvl5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5pPr>
      <a:lvl6pPr marL="20754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6pPr>
      <a:lvl7pPr marL="41508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7pPr>
      <a:lvl8pPr marL="62262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8pPr>
      <a:lvl9pPr marL="83015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9pPr>
    </p:titleStyle>
    <p:bodyStyle>
      <a:lvl1pPr marL="9296" indent="-9296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•"/>
        <a:tabLst/>
        <a:defRPr sz="100">
          <a:solidFill>
            <a:schemeClr val="tx2"/>
          </a:solidFill>
          <a:latin typeface="+mn-lt"/>
          <a:ea typeface="+mn-ea"/>
          <a:cs typeface="+mn-cs"/>
        </a:defRPr>
      </a:lvl1pPr>
      <a:lvl2pPr marL="20321" indent="-10593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tabLst/>
        <a:defRPr sz="100">
          <a:solidFill>
            <a:schemeClr val="tx2"/>
          </a:solidFill>
          <a:latin typeface="+mn-lt"/>
        </a:defRPr>
      </a:lvl2pPr>
      <a:lvl3pPr marL="30050" indent="-8863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tabLst/>
        <a:defRPr sz="100">
          <a:solidFill>
            <a:schemeClr val="tx2"/>
          </a:solidFill>
          <a:latin typeface="+mn-lt"/>
        </a:defRPr>
      </a:lvl3pPr>
      <a:lvl4pPr marL="39202" indent="-9368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defRPr sz="100">
          <a:solidFill>
            <a:schemeClr val="tx2"/>
          </a:solidFill>
          <a:latin typeface="+mn-lt"/>
        </a:defRPr>
      </a:lvl4pPr>
      <a:lvl5pPr marL="48426" indent="-9224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defRPr sz="100">
          <a:solidFill>
            <a:schemeClr val="tx2"/>
          </a:solidFill>
          <a:latin typeface="+mn-lt"/>
        </a:defRPr>
      </a:lvl5pPr>
      <a:lvl6pPr marL="56785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6pPr>
      <a:lvl7pPr marL="77539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7pPr>
      <a:lvl8pPr marL="98293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8pPr>
      <a:lvl9pPr marL="119047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1pPr>
      <a:lvl2pPr marL="20754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2pPr>
      <a:lvl3pPr marL="41508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3pPr>
      <a:lvl4pPr marL="62262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4pPr>
      <a:lvl5pPr marL="83015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5pPr>
      <a:lvl6pPr marL="103769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6pPr>
      <a:lvl7pPr marL="124524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7pPr>
      <a:lvl8pPr marL="145277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8pPr>
      <a:lvl9pPr marL="166032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953358-813A-593B-2528-2409E34AE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4" imgH="344" progId="TCLayout.ActiveDocument.1">
                  <p:embed/>
                </p:oleObj>
              </mc:Choice>
              <mc:Fallback>
                <p:oleObj name="think-cell Slide" r:id="rId1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953358-813A-593B-2528-2409E34AE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8ED2365-AFAB-C9F2-DCFF-4D53E9A2AB7B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D376EA-FD18-C7CA-D2E1-85C0544DC6C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2F4EDA9-8159-97DB-3109-463D9F095771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4145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194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41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539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710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8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99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76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602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6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67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24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999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56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632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50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9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220.xml"/><Relationship Id="rId6" Type="http://schemas.openxmlformats.org/officeDocument/2006/relationships/hyperlink" Target="https://youtu.be/_J_FuachU3A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400" dirty="0"/>
              <a:t>Private Video Training</a:t>
            </a:r>
            <a:br>
              <a:rPr lang="en-US" sz="2400" dirty="0"/>
            </a:br>
            <a:r>
              <a:rPr lang="en-GB" b="0" dirty="0"/>
              <a:t>Project Business Case</a:t>
            </a:r>
            <a:endParaRPr lang="en-US" sz="2400" b="0" kern="0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AA7B8AD-E6F9-4E25-A3A4-71D021032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C33B26-1C22-17EB-3C48-B3B33263A190}"/>
              </a:ext>
            </a:extLst>
          </p:cNvPr>
          <p:cNvSpPr txBox="1"/>
          <p:nvPr/>
        </p:nvSpPr>
        <p:spPr>
          <a:xfrm>
            <a:off x="514114" y="1545219"/>
            <a:ext cx="112271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0" dirty="0"/>
              <a:t>Select “Slide Show” mode and then click on the image below to access this private video training.</a:t>
            </a:r>
          </a:p>
          <a:p>
            <a:r>
              <a:rPr lang="en-US" dirty="0"/>
              <a:t>You can also access the video by copy pasting the following URL in your browser: </a:t>
            </a:r>
          </a:p>
          <a:p>
            <a:r>
              <a:rPr lang="en-US" dirty="0">
                <a:highlight>
                  <a:srgbClr val="FFFF00"/>
                </a:highlight>
              </a:rPr>
              <a:t>https://youtu.be/_J_FuachU3A</a:t>
            </a:r>
          </a:p>
        </p:txBody>
      </p:sp>
      <p:pic>
        <p:nvPicPr>
          <p:cNvPr id="3" name="Picture 2">
            <a:hlinkClick r:id="rId6"/>
            <a:extLst>
              <a:ext uri="{FF2B5EF4-FFF2-40B4-BE49-F238E27FC236}">
                <a16:creationId xmlns:a16="http://schemas.microsoft.com/office/drawing/2014/main" id="{D42FC45F-3F27-32AC-2822-6603D6364B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80773" y="2821975"/>
            <a:ext cx="6187027" cy="34573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1542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DiLhOlJ.aZPUKJ_JI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007_Screen_Small_27-94x21-59_18Nov08">
  <a:themeElements>
    <a:clrScheme name="Deloitte 2008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>
            <a:lumMod val="95000"/>
          </a:srgbClr>
        </a:solidFill>
        <a:ln>
          <a:solidFill>
            <a:srgbClr val="FFFFFF">
              <a:lumMod val="75000"/>
            </a:srgbClr>
          </a:solidFill>
        </a:ln>
      </a:spPr>
      <a:bodyPr wrap="square" lIns="91428" tIns="45715" rIns="91428" bIns="45715" rtlCol="0">
        <a:noAutofit/>
      </a:bodyPr>
      <a:lstStyle>
        <a:defPPr marL="182553" indent="-182553" algn="just" defTabSz="623853" rtl="0" fontAlgn="base">
          <a:lnSpc>
            <a:spcPts val="1100"/>
          </a:lnSpc>
          <a:spcBef>
            <a:spcPct val="0"/>
          </a:spcBef>
          <a:spcAft>
            <a:spcPct val="0"/>
          </a:spcAft>
          <a:buClr>
            <a:srgbClr val="000000"/>
          </a:buClr>
          <a:buFont typeface="Wingdings 3" pitchFamily="18" charset="2"/>
          <a:buChar char="}"/>
          <a:defRPr sz="1200" kern="1200" dirty="0">
            <a:solidFill>
              <a:srgbClr val="0C2870"/>
            </a:solidFill>
            <a:latin typeface="Arial" charset="0"/>
            <a:ea typeface="+mn-ea"/>
            <a:cs typeface="Times New Roman" pitchFamily="18" charset="0"/>
          </a:defRPr>
        </a:defPPr>
      </a:lstStyle>
    </a:spDef>
  </a:objectDefaults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Theme3">
  <a:themeElements>
    <a:clrScheme name="Custom 1">
      <a:dk1>
        <a:srgbClr val="FFFFFF"/>
      </a:dk1>
      <a:lt1>
        <a:srgbClr val="002060"/>
      </a:lt1>
      <a:dk2>
        <a:srgbClr val="002060"/>
      </a:dk2>
      <a:lt2>
        <a:srgbClr val="002060"/>
      </a:lt2>
      <a:accent1>
        <a:srgbClr val="002060"/>
      </a:accent1>
      <a:accent2>
        <a:srgbClr val="00B0F0"/>
      </a:accent2>
      <a:accent3>
        <a:srgbClr val="00B050"/>
      </a:accent3>
      <a:accent4>
        <a:srgbClr val="92D050"/>
      </a:accent4>
      <a:accent5>
        <a:srgbClr val="FFC000"/>
      </a:accent5>
      <a:accent6>
        <a:srgbClr val="FF000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3" id="{7D1C7C3E-DDBB-4A1D-8861-A10BD3664B8D}" vid="{E1945AC1-AF09-43B9-95F3-80375804439E}"/>
    </a:ext>
  </a:extLst>
</a:theme>
</file>

<file path=ppt/theme/theme12.xml><?xml version="1.0" encoding="utf-8"?>
<a:theme xmlns:a="http://schemas.openxmlformats.org/drawingml/2006/main" name="9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0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3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92</TotalTime>
  <Words>54</Words>
  <Application>Microsoft Office PowerPoint</Application>
  <PresentationFormat>Widescreen</PresentationFormat>
  <Paragraphs>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3" baseType="lpstr">
      <vt:lpstr>Arial</vt:lpstr>
      <vt:lpstr>Calibri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2007_Screen_Small_27-94x21-59_18Nov08</vt:lpstr>
      <vt:lpstr>Theme3</vt:lpstr>
      <vt:lpstr>9_Custom Design</vt:lpstr>
      <vt:lpstr>10_Custom Design</vt:lpstr>
      <vt:lpstr>11_Custom Design</vt:lpstr>
      <vt:lpstr>12_Custom Design</vt:lpstr>
      <vt:lpstr>13_Custom Design</vt:lpstr>
      <vt:lpstr>14_Custom Design</vt:lpstr>
      <vt:lpstr>15_Custom Design</vt:lpstr>
      <vt:lpstr>16_Custom Design</vt:lpstr>
      <vt:lpstr>think-cell Slide</vt:lpstr>
      <vt:lpstr>Private Video Training Project Business Ca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56</cp:revision>
  <dcterms:created xsi:type="dcterms:W3CDTF">2020-07-08T04:44:55Z</dcterms:created>
  <dcterms:modified xsi:type="dcterms:W3CDTF">2022-10-20T02:59:3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